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1" r:id="rId1"/>
    <p:sldMasterId id="2147483701" r:id="rId2"/>
  </p:sldMasterIdLst>
  <p:notesMasterIdLst>
    <p:notesMasterId r:id="rId21"/>
  </p:notesMasterIdLst>
  <p:sldIdLst>
    <p:sldId id="441" r:id="rId3"/>
    <p:sldId id="430" r:id="rId4"/>
    <p:sldId id="410" r:id="rId5"/>
    <p:sldId id="433" r:id="rId6"/>
    <p:sldId id="431" r:id="rId7"/>
    <p:sldId id="424" r:id="rId8"/>
    <p:sldId id="413" r:id="rId9"/>
    <p:sldId id="434" r:id="rId10"/>
    <p:sldId id="442" r:id="rId11"/>
    <p:sldId id="443" r:id="rId12"/>
    <p:sldId id="444" r:id="rId13"/>
    <p:sldId id="438" r:id="rId14"/>
    <p:sldId id="439" r:id="rId15"/>
    <p:sldId id="445" r:id="rId16"/>
    <p:sldId id="435" r:id="rId17"/>
    <p:sldId id="436" r:id="rId18"/>
    <p:sldId id="277" r:id="rId19"/>
    <p:sldId id="440" r:id="rId20"/>
  </p:sldIdLst>
  <p:sldSz cx="9144000" cy="6858000" type="screen4x3"/>
  <p:notesSz cx="6797675" cy="99250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5155" autoAdjust="0"/>
  </p:normalViewPr>
  <p:slideViewPr>
    <p:cSldViewPr>
      <p:cViewPr varScale="1">
        <p:scale>
          <a:sx n="95" d="100"/>
          <a:sy n="95" d="100"/>
        </p:scale>
        <p:origin x="1908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676119-1416-0F49-AE87-10E0535D08B7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39838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6431"/>
            <a:ext cx="543814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7077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7077"/>
            <a:ext cx="2945659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14F9CD-4DF7-4247-8983-66370DBDECF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2468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79211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3">
              <a:defRPr/>
            </a:pP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</a:rPr>
              <a:t>Во-избежание направления граждан на платные медицинские услуги, с учетом отсутствия в г. Норильске необходимой КТ-диагностики на амбулаторном этапе, </a:t>
            </a:r>
            <a:endParaRPr lang="ru-RU" sz="1600" dirty="0"/>
          </a:p>
          <a:p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</a:rPr>
              <a:t>Для понимания сложившейся ситуации и сопровождения граждан на получение необходимой КТ-диагностики за счет средств системы ОМС,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85470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13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1100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8379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cap="all" dirty="0" smtClean="0">
                <a:solidFill>
                  <a:srgbClr val="0A2896"/>
                </a:solidFill>
                <a:effectLst/>
                <a:latin typeface="VTB Group Cond" charset="0"/>
                <a:ea typeface="VTB Group Cond" charset="0"/>
                <a:cs typeface="VTB Group Cond" charset="0"/>
              </a:rPr>
              <a:t>. </a:t>
            </a: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формационное сопровождение граждан</a:t>
            </a:r>
            <a:r>
              <a:rPr lang="ru-RU" sz="1200" b="1" baseline="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и проведение контрольно-экспертных мероприятий проводится с учетом развития страховых принципов по новому законодательству</a:t>
            </a:r>
            <a:endParaRPr lang="ru-RU" sz="1200" b="1" dirty="0" smtClean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9663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6 марта 2019 года состоялось знаковое событие – подписание Общественного договора между Правительством Красноярского края, медицинским сообществом, страховыми медицинскими организациями, общественными организациями и представителями краевого бизнеса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е о подготовке Общественного договора было инициировано на заседании Президиума Правительства Красноярского края в октябре 2018 года  под председательством Губернатора Красноярского края Александром Викторовичем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ссо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сего 8 сторон Общественного договора, одна из которых – страховые медицинские организации., участники системы ОМС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322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Цели создания института страховых представителей:</a:t>
            </a:r>
          </a:p>
          <a:p>
            <a:pPr marL="285750" marR="0" lvl="0" indent="-285750" algn="l" defTabSz="914400" rtl="0" eaLnBrk="1" fontAlgn="auto" latinLnBrk="0" hangingPunct="1"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формирование пациент-ориентированной модели здравоохранения</a:t>
            </a:r>
          </a:p>
          <a:p>
            <a:pPr marL="285750" marR="0" lvl="0" indent="-285750" algn="l" defTabSz="914400" rtl="0" eaLnBrk="1" fontAlgn="auto" latinLnBrk="0" hangingPunct="1"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вышение эффективности работы по защите прав и законных интересов застрахованных граждан</a:t>
            </a:r>
          </a:p>
          <a:p>
            <a:pPr marL="285750" marR="0" lvl="0" indent="-285750" algn="l" defTabSz="914400" rtl="0" eaLnBrk="1" fontAlgn="auto" latinLnBrk="0" hangingPunct="1"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Усиление профилактической направленности системы ОМС</a:t>
            </a:r>
          </a:p>
          <a:p>
            <a:pPr marL="285750" marR="0" lvl="0" indent="-285750" algn="l" defTabSz="914400" rtl="0" eaLnBrk="1" fontAlgn="auto" latinLnBrk="0" hangingPunct="1">
              <a:spcAft>
                <a:spcPts val="0"/>
              </a:spcAft>
              <a:buClr>
                <a:srgbClr val="C0000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вышение информированности застрахованных лиц, в том числе для повышения приверженности лечения и ведению здорового образа жизни</a:t>
            </a:r>
          </a:p>
          <a:p>
            <a:pPr marL="285750" indent="-285750">
              <a:buClr>
                <a:srgbClr val="C00000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формационное сопровождение застрахованных на всех этапах оказания медицинской помощи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dirty="0" smtClean="0">
              <a:solidFill>
                <a:srgbClr val="C00000"/>
              </a:solidFill>
              <a:effectLst/>
              <a:latin typeface="VTB Group Cond" charset="0"/>
              <a:ea typeface="VTB Group Cond" charset="0"/>
              <a:cs typeface="VTB Group Cond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>
                <a:solidFill>
                  <a:srgbClr val="C00000"/>
                </a:solidFill>
                <a:effectLst/>
                <a:latin typeface="VTB Group Cond" charset="0"/>
                <a:ea typeface="VTB Group Cond" charset="0"/>
                <a:cs typeface="VTB Group Cond" charset="0"/>
              </a:rPr>
              <a:t>Главная задача - СМО - РЕАЛЬНЫЙ ПОМОЩНИК ГРАЖДАНИНА («адвокат»/»поверенный»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solidFill>
                  <a:srgbClr val="002060"/>
                </a:solidFill>
                <a:effectLst/>
                <a:latin typeface="VTB Group Cond" charset="0"/>
                <a:ea typeface="VTB Group Cond" charset="0"/>
                <a:cs typeface="VTB Group Cond" charset="0"/>
              </a:rPr>
              <a:t>Новые компетенции СМО в условиях развития страховых принципов, направленные на повышение эффективности и защиты прав и интересов застрахованных лиц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dirty="0" smtClean="0">
              <a:solidFill>
                <a:srgbClr val="C00000"/>
              </a:solidFill>
              <a:effectLst/>
              <a:latin typeface="VTB Group Cond" charset="0"/>
              <a:ea typeface="VTB Group Cond" charset="0"/>
              <a:cs typeface="VTB Group Cond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61D9F-0E06-4F95-8929-1FAC12BBA6F0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87950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лгоритм маршрутизации паци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96215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14F9CD-4DF7-4247-8983-66370DBDECFD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0919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КАЧЕСТВА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нтрольно-экспертные мероприятия врачей-экспертов по оценке:</a:t>
            </a:r>
            <a:r>
              <a:rPr lang="ru-RU" sz="1200" b="0" kern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соблюдения порядков, качества ведения ДН, соблюдение преемственности лечения и т.д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kern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Эффективность диспансеризации, по итогу, качественного результата ее проведения даст достижение: увеличения </a:t>
            </a:r>
            <a:r>
              <a:rPr lang="ru-RU" sz="1200" b="0" kern="1200" baseline="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ыявляемости ЗНО на ранних стадиях</a:t>
            </a:r>
            <a:endParaRPr lang="ru-RU" sz="1200" b="0" kern="1200" dirty="0" smtClean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kern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Если это ДН:</a:t>
            </a:r>
          </a:p>
          <a:p>
            <a:pPr algn="l"/>
            <a:r>
              <a:rPr lang="ru-RU" sz="1200" b="1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Эффективность </a:t>
            </a: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ного наблюдения </a:t>
            </a:r>
            <a:r>
              <a:rPr lang="ru-RU" sz="1200" b="1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= результат качественного </a:t>
            </a: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ного наблюдения </a:t>
            </a:r>
          </a:p>
          <a:p>
            <a:pPr marL="19050" indent="-19050" algn="just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остижение целевых значений показателей состояния здоровья </a:t>
            </a: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 соответствии с клиническими рекомендациями (</a:t>
            </a:r>
            <a:r>
              <a:rPr lang="ru-RU" altLang="ru-RU" sz="12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АД, ЧСС, характера ритма, холестерина, глюкозы, МНО, массы тела у больных ХСН, параметров ФВД у больных ХОБЛ</a:t>
            </a:r>
            <a:r>
              <a:rPr lang="en-US" altLang="ru-RU" sz="12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 </a:t>
            </a:r>
            <a:r>
              <a:rPr lang="ru-RU" altLang="ru-RU" sz="1200" b="1" dirty="0" smtClean="0">
                <a:solidFill>
                  <a:srgbClr val="0070C0"/>
                </a:solidFill>
                <a:latin typeface="Calibri" panose="020F0502020204030204" pitchFamily="34" charset="0"/>
              </a:rPr>
              <a:t>)</a:t>
            </a:r>
            <a:endParaRPr lang="ru-RU" sz="1200" dirty="0" smtClean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19050" indent="-19050" algn="just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окращение числа обращений по поводу обострений хронических </a:t>
            </a: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болеваний</a:t>
            </a:r>
          </a:p>
          <a:p>
            <a:pPr marL="19050" indent="-19050" algn="just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нижение числа вызовов скорой медицинской помощи </a:t>
            </a:r>
          </a:p>
          <a:p>
            <a:pPr marL="19050" indent="-19050" algn="just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уменьшение числа госпитализаций</a:t>
            </a: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, в том числе по экстренным медицинским показаниям</a:t>
            </a:r>
          </a:p>
          <a:p>
            <a:pPr marL="19050" indent="-19050" algn="just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нижение показателей смертности</a:t>
            </a:r>
            <a:r>
              <a:rPr lang="ru-RU" sz="12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, в том числе внебольничной смертности, лиц, находящихся под диспансерным наблюдением</a:t>
            </a:r>
            <a:endParaRPr lang="ru-RU" sz="1200" b="1" dirty="0" smtClean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kern="1200" dirty="0" smtClean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961D9F-0E06-4F95-8929-1FAC12BBA6F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0204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6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адрес Губернатора Красноярского края 27.03.2020 направлено письмо Президента Всероссийского союза страховщиков </a:t>
            </a:r>
            <a:r>
              <a:rPr lang="ru-RU" sz="16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Юргенса</a:t>
            </a:r>
            <a:r>
              <a:rPr lang="ru-RU" sz="16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.Ю. с предложением об использовании (в максимальной степени) имеющихся возможностей страховых медицинских организаций, осуществляющих деятельность по обязательному медицинскому страхованию, для решения стоящих перед регионом задач в условиях новой </a:t>
            </a:r>
            <a:r>
              <a:rPr lang="ru-RU" sz="1600" kern="1200" dirty="0" err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коронавирусной</a:t>
            </a:r>
            <a:r>
              <a:rPr lang="ru-RU" sz="16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инфек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05504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июне месяце – значительный рост обращений/ наше выступление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1B9C2E-B4C7-4F50-B7BB-B50D27B5CE57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9270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ogaz.ru/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ogaz.ru/" TargetMode="External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50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613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0111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63" y="1900114"/>
            <a:ext cx="5321687" cy="443198"/>
          </a:xfrm>
        </p:spPr>
        <p:txBody>
          <a:bodyPr anchor="t">
            <a:spAutoFit/>
          </a:bodyPr>
          <a:lstStyle>
            <a:lvl1pPr algn="l">
              <a:defRPr sz="3200" cap="all" baseline="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413" y="2497625"/>
            <a:ext cx="4192587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1EEA8-6FA8-A246-B4FC-3FF4E6D77C04}" type="datetime1">
              <a:rPr lang="ru-RU" smtClean="0"/>
              <a:pPr/>
              <a:t>04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0208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6963" y="1900114"/>
            <a:ext cx="5321687" cy="443198"/>
          </a:xfrm>
        </p:spPr>
        <p:txBody>
          <a:bodyPr anchor="t">
            <a:spAutoFit/>
          </a:bodyPr>
          <a:lstStyle>
            <a:lvl1pPr algn="l">
              <a:defRPr sz="3200" cap="all" baseline="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413" y="2497625"/>
            <a:ext cx="4192587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1EEA8-6FA8-A246-B4FC-3FF4E6D77C04}" type="datetime1">
              <a:rPr lang="ru-RU" smtClean="0"/>
              <a:pPr/>
              <a:t>04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529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1900238"/>
            <a:ext cx="5321687" cy="443198"/>
          </a:xfrm>
        </p:spPr>
        <p:txBody>
          <a:bodyPr anchor="t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9413" y="2497625"/>
            <a:ext cx="4192587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84261-4970-9F46-8C9F-E9E3E0B1006D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912704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8"/>
            <a:ext cx="494665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05753E-CFBC-3446-B9EA-CBD48E4B291A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4192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5708650" y="1900238"/>
            <a:ext cx="2663825" cy="4351338"/>
          </a:xfrm>
        </p:spPr>
        <p:txBody>
          <a:bodyPr>
            <a:normAutofit/>
          </a:bodyPr>
          <a:lstStyle>
            <a:lvl1pPr marL="0" indent="0">
              <a:buNone/>
              <a:defRPr sz="10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Четвертый уровень</a:t>
            </a:r>
          </a:p>
        </p:txBody>
      </p:sp>
      <p:pic>
        <p:nvPicPr>
          <p:cNvPr id="10" name="Picture 2" descr="C:\Users\vanina\Downloads\VTB-insurance_logo_ru_r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530" y="200361"/>
            <a:ext cx="1990598" cy="66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912704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900238"/>
            <a:ext cx="419100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A50563-1E52-0045-B993-375B931C092F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4192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945063" y="1900238"/>
            <a:ext cx="381000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pic>
        <p:nvPicPr>
          <p:cNvPr id="10" name="Picture 2" descr="C:\Users\vanina\Downloads\VTB-insurance_logo_ru_r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530" y="200361"/>
            <a:ext cx="1990598" cy="66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1B01ED-8CEF-3344-AFF0-0685FA08ED93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572000" y="1900238"/>
            <a:ext cx="3800475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-11112" y="1711870"/>
            <a:ext cx="3052762" cy="5146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3045619" y="1711870"/>
            <a:ext cx="3052762" cy="514613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091238" y="1711870"/>
            <a:ext cx="3052762" cy="5146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2505322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0BD1AF-B4DB-8647-95AF-3600AB05EE12}" type="datetime1">
              <a:rPr lang="ru-RU" smtClean="0"/>
              <a:pPr/>
              <a:t>04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260727" y="1900238"/>
            <a:ext cx="2671216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73280" y="1900238"/>
            <a:ext cx="2481783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776" y="194216"/>
            <a:ext cx="1872080" cy="6737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BBD76-75EF-6545-A05D-6D9745046C77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4572000" y="1900238"/>
            <a:ext cx="3800475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pic>
        <p:nvPicPr>
          <p:cNvPr id="11" name="Picture 2" descr="C:\Users\vanina\Downloads\VTB-insurance_logo_ru_r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530" y="200361"/>
            <a:ext cx="1990598" cy="66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0617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381169" y="0"/>
            <a:ext cx="4762831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3810000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C6748C-8BD7-664A-9D51-2275E0AD86BF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572000" y="1900238"/>
            <a:ext cx="3800475" cy="4351338"/>
          </a:xfrm>
        </p:spPr>
        <p:txBody>
          <a:bodyPr>
            <a:normAutofit/>
          </a:bodyPr>
          <a:lstStyle>
            <a:lvl1pPr marL="0" indent="0">
              <a:buNone/>
              <a:defRPr sz="2000" b="1" i="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 userDrawn="1"/>
        </p:nvSpPr>
        <p:spPr>
          <a:xfrm>
            <a:off x="-11112" y="1711870"/>
            <a:ext cx="3052762" cy="5146130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3045619" y="1711870"/>
            <a:ext cx="3052762" cy="514613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6091238" y="1711870"/>
            <a:ext cx="3052762" cy="5146130"/>
          </a:xfrm>
          <a:prstGeom prst="rect">
            <a:avLst/>
          </a:prstGeom>
          <a:solidFill>
            <a:srgbClr val="CCE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900238"/>
            <a:ext cx="2505322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C4C36-6E72-914C-A941-242ACB53E3E2}" type="datetime1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3260727" y="1900238"/>
            <a:ext cx="2671216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73280" y="1900238"/>
            <a:ext cx="2481783" cy="4351338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3810000" cy="332399"/>
          </a:xfrm>
        </p:spPr>
        <p:txBody>
          <a:bodyPr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C4C36-6E72-914C-A941-242ACB53E3E2}" type="datetime1">
              <a:rPr lang="ru-RU" smtClean="0"/>
              <a:pPr/>
              <a:t>04.12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4AACDB-04BE-B84E-9752-BE5C65D319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9413" y="968602"/>
            <a:ext cx="3811587" cy="221599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1388" y="404664"/>
            <a:ext cx="4240612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275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6381751"/>
            <a:ext cx="720726" cy="476251"/>
          </a:xfrm>
          <a:ln/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375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bg>
      <p:bgPr>
        <a:solidFill>
          <a:srgbClr val="000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 bwMode="auto">
          <a:xfrm>
            <a:off x="0" y="1"/>
            <a:ext cx="9144000" cy="38799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82800" rIns="9144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1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2D87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65" y="5361928"/>
            <a:ext cx="3885780" cy="860446"/>
          </a:xfrm>
          <a:prstGeom prst="rect">
            <a:avLst/>
          </a:prstGeom>
        </p:spPr>
      </p:pic>
      <p:sp>
        <p:nvSpPr>
          <p:cNvPr id="6" name="Заголовок 12"/>
          <p:cNvSpPr txBox="1">
            <a:spLocks/>
          </p:cNvSpPr>
          <p:nvPr userDrawn="1"/>
        </p:nvSpPr>
        <p:spPr>
          <a:xfrm>
            <a:off x="5834910" y="1322766"/>
            <a:ext cx="3618402" cy="1940968"/>
          </a:xfrm>
          <a:prstGeom prst="rect">
            <a:avLst/>
          </a:prstGeom>
        </p:spPr>
        <p:txBody>
          <a:bodyPr vert="horz" lIns="77925" tIns="38963" rIns="77925" bIns="38963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438329">
              <a:lnSpc>
                <a:spcPts val="3751"/>
              </a:lnSpc>
              <a:defRPr/>
            </a:pPr>
            <a:endParaRPr lang="ru-RU" sz="3300" dirty="0">
              <a:solidFill>
                <a:prstClr val="black"/>
              </a:solidFill>
            </a:endParaRPr>
          </a:p>
        </p:txBody>
      </p:sp>
      <p:sp>
        <p:nvSpPr>
          <p:cNvPr id="8" name="Заголовок 12"/>
          <p:cNvSpPr txBox="1">
            <a:spLocks/>
          </p:cNvSpPr>
          <p:nvPr userDrawn="1"/>
        </p:nvSpPr>
        <p:spPr>
          <a:xfrm>
            <a:off x="5834910" y="1322766"/>
            <a:ext cx="3618402" cy="1940968"/>
          </a:xfrm>
          <a:prstGeom prst="rect">
            <a:avLst/>
          </a:prstGeom>
        </p:spPr>
        <p:txBody>
          <a:bodyPr vert="horz" lIns="77925" tIns="38963" rIns="77925" bIns="38963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438329">
              <a:lnSpc>
                <a:spcPts val="3751"/>
              </a:lnSpc>
              <a:defRPr/>
            </a:pPr>
            <a:endParaRPr lang="ru-RU" sz="3300" dirty="0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48311" y="1676576"/>
            <a:ext cx="2982462" cy="1739559"/>
          </a:xfrm>
          <a:prstGeom prst="rect">
            <a:avLst/>
          </a:prstGeom>
        </p:spPr>
        <p:txBody>
          <a:bodyPr/>
          <a:lstStyle>
            <a:lvl1pPr>
              <a:defRPr sz="2954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0"/>
          </p:nvPr>
        </p:nvSpPr>
        <p:spPr>
          <a:xfrm>
            <a:off x="5436097" y="5866774"/>
            <a:ext cx="2384181" cy="3556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822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белая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64" y="5352476"/>
            <a:ext cx="3921667" cy="868394"/>
          </a:xfrm>
          <a:prstGeom prst="rect">
            <a:avLst/>
          </a:prstGeom>
        </p:spPr>
      </p:pic>
      <p:sp>
        <p:nvSpPr>
          <p:cNvPr id="4" name="Заголовок 12"/>
          <p:cNvSpPr txBox="1">
            <a:spLocks/>
          </p:cNvSpPr>
          <p:nvPr userDrawn="1"/>
        </p:nvSpPr>
        <p:spPr>
          <a:xfrm>
            <a:off x="5834910" y="1322766"/>
            <a:ext cx="3618402" cy="1940968"/>
          </a:xfrm>
          <a:prstGeom prst="rect">
            <a:avLst/>
          </a:prstGeom>
        </p:spPr>
        <p:txBody>
          <a:bodyPr vert="horz" lIns="77925" tIns="38963" rIns="77925" bIns="38963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438329">
              <a:lnSpc>
                <a:spcPts val="3751"/>
              </a:lnSpc>
              <a:defRPr/>
            </a:pPr>
            <a:endParaRPr lang="ru-RU" sz="3300" dirty="0">
              <a:solidFill>
                <a:srgbClr val="000078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48309" y="1772817"/>
            <a:ext cx="3167514" cy="1643318"/>
          </a:xfrm>
          <a:prstGeom prst="rect">
            <a:avLst/>
          </a:prstGeom>
        </p:spPr>
        <p:txBody>
          <a:bodyPr/>
          <a:lstStyle>
            <a:lvl1pPr>
              <a:defRPr sz="2954" b="0">
                <a:solidFill>
                  <a:srgbClr val="000078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Текст 14"/>
          <p:cNvSpPr>
            <a:spLocks noGrp="1"/>
          </p:cNvSpPr>
          <p:nvPr>
            <p:ph type="body" sz="quarter" idx="11"/>
          </p:nvPr>
        </p:nvSpPr>
        <p:spPr>
          <a:xfrm>
            <a:off x="5436097" y="5866774"/>
            <a:ext cx="2384181" cy="355600"/>
          </a:xfrm>
        </p:spPr>
        <p:txBody>
          <a:bodyPr/>
          <a:lstStyle>
            <a:lvl1pPr marL="0" indent="0">
              <a:buNone/>
              <a:defRPr>
                <a:solidFill>
                  <a:srgbClr val="000078"/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3719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белый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1388" y="404664"/>
            <a:ext cx="4240612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100"/>
              </a:lnSpc>
              <a:defRPr sz="258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6381751"/>
            <a:ext cx="720726" cy="476251"/>
          </a:xfrm>
          <a:ln/>
        </p:spPr>
        <p:txBody>
          <a:bodyPr/>
          <a:lstStyle>
            <a:lvl1pPr>
              <a:defRPr sz="1108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6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ерый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6381751"/>
            <a:ext cx="720726" cy="476251"/>
          </a:xfrm>
          <a:ln/>
        </p:spPr>
        <p:txBody>
          <a:bodyPr/>
          <a:lstStyle>
            <a:lvl1pPr>
              <a:defRPr sz="1108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1389" y="404664"/>
            <a:ext cx="4506487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100"/>
              </a:lnSpc>
              <a:defRPr sz="258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650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71"/>
          <a:stretch/>
        </p:blipFill>
        <p:spPr>
          <a:xfrm>
            <a:off x="-52996" y="1"/>
            <a:ext cx="9231630" cy="685799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1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33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аттер снизу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22"/>
          <a:stretch/>
        </p:blipFill>
        <p:spPr>
          <a:xfrm>
            <a:off x="0" y="1"/>
            <a:ext cx="9158356" cy="6858000"/>
          </a:xfrm>
          <a:prstGeom prst="rect">
            <a:avLst/>
          </a:prstGeom>
        </p:spPr>
      </p:pic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444" y="6381751"/>
            <a:ext cx="720726" cy="476251"/>
          </a:xfrm>
          <a:ln/>
        </p:spPr>
        <p:txBody>
          <a:bodyPr/>
          <a:lstStyle>
            <a:lvl1pPr>
              <a:defRPr sz="1108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31388" y="404664"/>
            <a:ext cx="4240612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100"/>
              </a:lnSpc>
              <a:defRPr sz="258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8164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5844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на выл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-36512" y="4"/>
            <a:ext cx="9217024" cy="6857999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/>
              <a:t>    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1108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554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9144001" cy="3429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n-US" dirty="0"/>
              <a:t>    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900" b="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9115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ноутбу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1108"/>
            </a:lvl1pPr>
          </a:lstStyle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132" y="481073"/>
            <a:ext cx="2984897" cy="54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175"/>
              </a:lnSpc>
              <a:defRPr sz="258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457132" y="1232758"/>
            <a:ext cx="2981121" cy="3535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685817" rtl="0" eaLnBrk="0" fontAlgn="base" latinLnBrk="0" hangingPunct="0">
              <a:lnSpc>
                <a:spcPts val="975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108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68581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Текст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текст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r>
              <a:rPr lang="ru-RU" dirty="0" smtClean="0"/>
              <a:t> </a:t>
            </a:r>
            <a:r>
              <a:rPr lang="ru-RU" dirty="0" err="1" smtClean="0"/>
              <a:t>текст</a:t>
            </a:r>
            <a:endParaRPr lang="ru-RU" dirty="0" smtClean="0"/>
          </a:p>
          <a:p>
            <a:pPr marL="0" marR="0" lvl="0" indent="0" algn="l" defTabSz="68581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pPr lvl="0"/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  <p:pic>
        <p:nvPicPr>
          <p:cNvPr id="12" name="Picture 7">
            <a:extLst>
              <a:ext uri="{FF2B5EF4-FFF2-40B4-BE49-F238E27FC236}">
                <a16:creationId xmlns="" xmlns:a16="http://schemas.microsoft.com/office/drawing/2014/main" id="{79D29894-9CFE-594F-99B2-B530DB8F71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990" y="1195068"/>
            <a:ext cx="7587567" cy="4826220"/>
          </a:xfrm>
          <a:prstGeom prst="rect">
            <a:avLst/>
          </a:prstGeom>
        </p:spPr>
      </p:pic>
      <p:sp>
        <p:nvSpPr>
          <p:cNvPr id="13" name="Picture Placeholder 4">
            <a:extLst>
              <a:ext uri="{FF2B5EF4-FFF2-40B4-BE49-F238E27FC236}">
                <a16:creationId xmlns="" xmlns:a16="http://schemas.microsoft.com/office/drawing/2014/main" id="{1965AAD4-244C-F046-AE4B-710B584B7E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39062" y="1536586"/>
            <a:ext cx="5716327" cy="3888431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99000">
                <a:schemeClr val="bg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83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2227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 sz="1108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982DB5A6-6DC1-40B9-81CB-ECB48CF539AF}" type="slidenum">
              <a:rPr lang="ru-RU" smtClean="0">
                <a:solidFill>
                  <a:srgbClr val="000078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78"/>
              </a:solidFill>
            </a:endParaRPr>
          </a:p>
        </p:txBody>
      </p:sp>
      <p:sp>
        <p:nvSpPr>
          <p:cNvPr id="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89226" y="404664"/>
            <a:ext cx="4447887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2100"/>
              </a:lnSpc>
              <a:defRPr sz="2585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4837114" y="1307432"/>
            <a:ext cx="3720828" cy="471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8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</a:t>
            </a:r>
            <a:r>
              <a:rPr lang="ru-RU" dirty="0" smtClean="0"/>
              <a:t>текста</a:t>
            </a:r>
            <a:endParaRPr lang="ru-RU" dirty="0"/>
          </a:p>
        </p:txBody>
      </p:sp>
      <p:sp>
        <p:nvSpPr>
          <p:cNvPr id="12" name="Rectangle 4"/>
          <p:cNvSpPr>
            <a:spLocks noGrp="1" noChangeArrowheads="1"/>
          </p:cNvSpPr>
          <p:nvPr>
            <p:ph idx="12"/>
          </p:nvPr>
        </p:nvSpPr>
        <p:spPr bwMode="auto">
          <a:xfrm>
            <a:off x="384458" y="1307432"/>
            <a:ext cx="3776062" cy="4713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8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Образец </a:t>
            </a:r>
            <a:r>
              <a:rPr lang="ru-RU" dirty="0" smtClean="0"/>
              <a:t>текста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2" r="55102"/>
          <a:stretch/>
        </p:blipFill>
        <p:spPr>
          <a:xfrm>
            <a:off x="317989" y="6182461"/>
            <a:ext cx="1329378" cy="62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6722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221" y="936785"/>
            <a:ext cx="2924632" cy="3160228"/>
          </a:xfrm>
          <a:prstGeom prst="rect">
            <a:avLst/>
          </a:prstGeom>
        </p:spPr>
      </p:pic>
      <p:sp>
        <p:nvSpPr>
          <p:cNvPr id="6" name="Title 2"/>
          <p:cNvSpPr txBox="1">
            <a:spLocks/>
          </p:cNvSpPr>
          <p:nvPr userDrawn="1"/>
        </p:nvSpPr>
        <p:spPr>
          <a:xfrm>
            <a:off x="715550" y="1946836"/>
            <a:ext cx="3640427" cy="585065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rgbClr val="111B61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4000" dirty="0">
                <a:solidFill>
                  <a:srgbClr val="000078"/>
                </a:solidFill>
              </a:rPr>
              <a:t>Спасибо</a:t>
            </a:r>
          </a:p>
          <a:p>
            <a:r>
              <a:rPr lang="ru-RU" sz="4000" dirty="0">
                <a:solidFill>
                  <a:srgbClr val="000078"/>
                </a:solidFill>
              </a:rPr>
              <a:t>за внимание!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15550" y="5229201"/>
            <a:ext cx="2858966" cy="865187"/>
          </a:xfrm>
        </p:spPr>
        <p:txBody>
          <a:bodyPr/>
          <a:lstStyle>
            <a:lvl1pPr marL="0" marR="0" indent="0" algn="l" defTabSz="8440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pPr lvl="0"/>
            <a:r>
              <a:rPr lang="ru-RU" dirty="0" smtClean="0"/>
              <a:t>8 800 100 07 02</a:t>
            </a:r>
          </a:p>
          <a:p>
            <a:pPr marL="0" marR="0" lvl="0" indent="0" algn="l" defTabSz="844083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s</a:t>
            </a:r>
            <a:r>
              <a:rPr lang="ru-RU" sz="1200" dirty="0" err="1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ogaz</a:t>
            </a:r>
            <a:r>
              <a:rPr lang="ru-RU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-</a:t>
            </a:r>
            <a:r>
              <a:rPr lang="en-US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med</a:t>
            </a:r>
            <a:r>
              <a:rPr lang="ru-RU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.</a:t>
            </a:r>
            <a:r>
              <a:rPr lang="ru-RU" sz="1200" dirty="0" err="1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ru</a:t>
            </a:r>
            <a:endParaRPr lang="ru-RU" sz="1200" dirty="0" smtClean="0">
              <a:solidFill>
                <a:schemeClr val="bg1"/>
              </a:solidFill>
            </a:endParaRP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729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оборот белая">
    <p:bg>
      <p:bgPr>
        <a:solidFill>
          <a:srgbClr val="0000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220" y="932723"/>
            <a:ext cx="2924633" cy="3168352"/>
          </a:xfrm>
          <a:prstGeom prst="rect">
            <a:avLst/>
          </a:prstGeom>
        </p:spPr>
      </p:pic>
      <p:sp>
        <p:nvSpPr>
          <p:cNvPr id="7" name="Title 2"/>
          <p:cNvSpPr txBox="1">
            <a:spLocks/>
          </p:cNvSpPr>
          <p:nvPr userDrawn="1"/>
        </p:nvSpPr>
        <p:spPr>
          <a:xfrm>
            <a:off x="715550" y="1946836"/>
            <a:ext cx="3640427" cy="585065"/>
          </a:xfrm>
          <a:prstGeom prst="rect">
            <a:avLst/>
          </a:prstGeom>
        </p:spPr>
        <p:txBody>
          <a:bodyPr lIns="0" tIns="0" rIns="0" bIns="0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rgbClr val="111B61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4000" dirty="0">
                <a:solidFill>
                  <a:prstClr val="white"/>
                </a:solidFill>
              </a:rPr>
              <a:t>Спасибо</a:t>
            </a:r>
          </a:p>
          <a:p>
            <a:r>
              <a:rPr lang="ru-RU" sz="4000" dirty="0">
                <a:solidFill>
                  <a:prstClr val="white"/>
                </a:solidFill>
              </a:rPr>
              <a:t>за внимание!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704311" y="5301209"/>
            <a:ext cx="2793023" cy="64928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457200" indent="0">
              <a:buNone/>
              <a:defRPr/>
            </a:lvl2pPr>
          </a:lstStyle>
          <a:p>
            <a:pPr marL="0" indent="0">
              <a:spcBef>
                <a:spcPts val="0"/>
              </a:spcBef>
              <a:buNone/>
            </a:pPr>
            <a:r>
              <a:rPr lang="ru-RU" sz="1200" dirty="0" smtClean="0">
                <a:solidFill>
                  <a:schemeClr val="bg1"/>
                </a:solidFill>
              </a:rPr>
              <a:t>8 800 100 07 02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s</a:t>
            </a:r>
            <a:r>
              <a:rPr lang="ru-RU" sz="1200" dirty="0" err="1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ogaz</a:t>
            </a:r>
            <a:r>
              <a:rPr lang="ru-RU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-</a:t>
            </a:r>
            <a:r>
              <a:rPr lang="en-US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med</a:t>
            </a:r>
            <a:r>
              <a:rPr lang="ru-RU" sz="1200" dirty="0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.</a:t>
            </a:r>
            <a:r>
              <a:rPr lang="ru-RU" sz="1200" dirty="0" err="1" smtClean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xmlns:lc="http://schemas.openxmlformats.org/drawingml/2006/lockedCanvas" val="tx"/>
                    </a:ext>
                  </a:extLst>
                </a:hlinkClick>
              </a:rPr>
              <a:t>ru</a:t>
            </a:r>
            <a:endParaRPr lang="ru-RU" sz="1200" dirty="0" smtClean="0">
              <a:solidFill>
                <a:schemeClr val="bg1"/>
              </a:solidFill>
            </a:endParaRPr>
          </a:p>
          <a:p>
            <a:pPr lvl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7060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80831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98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1449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6590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3685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7525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2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192ED9-4DBA-4BAF-ACBB-CFF78DC555EC}" type="datetimeFigureOut">
              <a:rPr lang="ru-RU" smtClean="0"/>
              <a:pPr/>
              <a:t>04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44E9C1-2FD3-4A6D-BAF9-091D55F1B7C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252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6" r:id="rId12"/>
    <p:sldLayoutId id="2147483699" r:id="rId13"/>
    <p:sldLayoutId id="2147483672" r:id="rId14"/>
    <p:sldLayoutId id="2147483662" r:id="rId15"/>
    <p:sldLayoutId id="2147483673" r:id="rId16"/>
    <p:sldLayoutId id="2147483674" r:id="rId17"/>
    <p:sldLayoutId id="2147483677" r:id="rId18"/>
    <p:sldLayoutId id="2147483675" r:id="rId19"/>
    <p:sldLayoutId id="2147483676" r:id="rId20"/>
    <p:sldLayoutId id="2147483678" r:id="rId21"/>
    <p:sldLayoutId id="2147483680" r:id="rId22"/>
    <p:sldLayoutId id="2147483700" r:id="rId2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666" y="176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6" y="176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528" y="620688"/>
            <a:ext cx="8641156" cy="590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581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23444" y="6381751"/>
            <a:ext cx="720726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 sz="900" b="0">
                <a:solidFill>
                  <a:srgbClr val="003366"/>
                </a:solidFill>
                <a:latin typeface="Arial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0187C0F9-EB67-409E-AE5E-91248E26C83E}" type="slidenum">
              <a:rPr lang="ru-RU" smtClean="0"/>
              <a:pPr fontAlgn="base"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5221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6pPr>
      <a:lvl7pPr marL="914401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000099"/>
          </a:solidFill>
          <a:latin typeface="Arial" charset="0"/>
        </a:defRPr>
      </a:lvl9pPr>
    </p:titleStyle>
    <p:bodyStyle>
      <a:lvl1pPr marL="533399" indent="-533399" algn="l" rtl="0" eaLnBrk="0" fontAlgn="base" hangingPunct="0">
        <a:spcBef>
          <a:spcPct val="20000"/>
        </a:spcBef>
        <a:spcAft>
          <a:spcPct val="0"/>
        </a:spcAft>
        <a:buAutoNum type="arabicPeriod"/>
        <a:defRPr sz="1400">
          <a:solidFill>
            <a:srgbClr val="003366"/>
          </a:solidFill>
          <a:latin typeface="+mn-lt"/>
          <a:ea typeface="+mn-ea"/>
          <a:cs typeface="+mn-cs"/>
        </a:defRPr>
      </a:lvl1pPr>
      <a:lvl2pPr marL="914401" indent="-4572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003366"/>
          </a:solidFill>
          <a:latin typeface="+mn-lt"/>
        </a:defRPr>
      </a:lvl2pPr>
      <a:lvl3pPr marL="1295400" indent="-380999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3366"/>
          </a:solidFill>
          <a:latin typeface="+mn-lt"/>
        </a:defRPr>
      </a:lvl3pPr>
      <a:lvl4pPr marL="1752600" indent="-380999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rgbClr val="003366"/>
          </a:solidFill>
          <a:latin typeface="+mn-lt"/>
        </a:defRPr>
      </a:lvl4pPr>
      <a:lvl5pPr marL="2133600" indent="-3048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rgbClr val="003366"/>
          </a:solidFill>
          <a:latin typeface="+mn-lt"/>
        </a:defRPr>
      </a:lvl5pPr>
      <a:lvl6pPr marL="25908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6pPr>
      <a:lvl7pPr marL="30480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7pPr>
      <a:lvl8pPr marL="35052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8pPr>
      <a:lvl9pPr marL="3962400" indent="-3048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rgbClr val="002D87"/>
          </a:solidFill>
          <a:latin typeface="+mn-lt"/>
        </a:defRPr>
      </a:lvl9pPr>
    </p:bodyStyle>
    <p:otherStyle>
      <a:defPPr>
        <a:defRPr lang="ru-RU"/>
      </a:defPPr>
      <a:lvl1pPr marL="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1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ogaz.ru/" TargetMode="Externa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12" Type="http://schemas.microsoft.com/office/2007/relationships/hdphoto" Target="../media/hdphoto1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11" Type="http://schemas.openxmlformats.org/officeDocument/2006/relationships/image" Target="../media/image25.pn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gif"/><Relationship Id="rId9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gif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2"/>
          <p:cNvSpPr txBox="1">
            <a:spLocks/>
          </p:cNvSpPr>
          <p:nvPr/>
        </p:nvSpPr>
        <p:spPr>
          <a:xfrm>
            <a:off x="1979712" y="908720"/>
            <a:ext cx="7020272" cy="2592288"/>
          </a:xfrm>
          <a:prstGeom prst="rect">
            <a:avLst/>
          </a:prstGeom>
        </p:spPr>
        <p:txBody>
          <a:bodyPr vert="horz" lIns="95908" tIns="47955" rIns="95908" bIns="47955" rtlCol="0" anchor="ctr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1700" kern="1200">
                <a:solidFill>
                  <a:srgbClr val="003D7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539483">
              <a:defRPr/>
            </a:pPr>
            <a:r>
              <a:rPr lang="ru-RU" sz="2677" dirty="0">
                <a:solidFill>
                  <a:schemeClr val="bg1"/>
                </a:solidFill>
              </a:rPr>
              <a:t>Роль и место страховых организаций в развитии здравоохранения региона: </a:t>
            </a:r>
            <a:r>
              <a:rPr lang="ru-RU" sz="2677" dirty="0" err="1">
                <a:solidFill>
                  <a:schemeClr val="bg1"/>
                </a:solidFill>
              </a:rPr>
              <a:t>пациентоориентированный</a:t>
            </a:r>
            <a:r>
              <a:rPr lang="ru-RU" sz="2677" dirty="0">
                <a:solidFill>
                  <a:schemeClr val="bg1"/>
                </a:solidFill>
              </a:rPr>
              <a:t> подход</a:t>
            </a:r>
          </a:p>
          <a:p>
            <a:pPr defTabSz="539483">
              <a:defRPr/>
            </a:pPr>
            <a:r>
              <a:rPr lang="ru-RU" sz="2677" dirty="0" smtClean="0">
                <a:solidFill>
                  <a:schemeClr val="bg1"/>
                </a:solidFill>
              </a:rPr>
              <a:t>Опыт </a:t>
            </a:r>
            <a:r>
              <a:rPr lang="ru-RU" sz="2677" dirty="0">
                <a:solidFill>
                  <a:schemeClr val="bg1"/>
                </a:solidFill>
              </a:rPr>
              <a:t>Красноярского филиала</a:t>
            </a:r>
          </a:p>
          <a:p>
            <a:r>
              <a:rPr lang="ru-RU" sz="2677" dirty="0">
                <a:solidFill>
                  <a:schemeClr val="bg1"/>
                </a:solidFill>
              </a:rPr>
              <a:t>АО «Страховая компания «СОГАЗ-Мед</a:t>
            </a:r>
            <a:r>
              <a:rPr lang="ru-RU" sz="2677" dirty="0" smtClean="0">
                <a:solidFill>
                  <a:schemeClr val="bg1"/>
                </a:solidFill>
              </a:rPr>
              <a:t>»</a:t>
            </a:r>
            <a:endParaRPr lang="ru-RU" sz="2677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44008" y="6196393"/>
            <a:ext cx="44644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bg1"/>
                </a:solidFill>
              </a:rPr>
              <a:t>Всероссийская научно </a:t>
            </a:r>
            <a:r>
              <a:rPr lang="ru-RU" sz="900" dirty="0">
                <a:solidFill>
                  <a:schemeClr val="bg1"/>
                </a:solidFill>
              </a:rPr>
              <a:t>– </a:t>
            </a:r>
            <a:r>
              <a:rPr lang="ru-RU" sz="900" dirty="0" smtClean="0">
                <a:solidFill>
                  <a:schemeClr val="bg1"/>
                </a:solidFill>
              </a:rPr>
              <a:t>практическая конференция </a:t>
            </a:r>
            <a:r>
              <a:rPr lang="ru-RU" sz="900" dirty="0">
                <a:solidFill>
                  <a:schemeClr val="bg1"/>
                </a:solidFill>
              </a:rPr>
              <a:t>с международным </a:t>
            </a:r>
            <a:r>
              <a:rPr lang="ru-RU" sz="900" dirty="0" smtClean="0">
                <a:solidFill>
                  <a:schemeClr val="bg1"/>
                </a:solidFill>
              </a:rPr>
              <a:t>участием ««</a:t>
            </a:r>
            <a:r>
              <a:rPr lang="ru-RU" sz="900" dirty="0">
                <a:solidFill>
                  <a:schemeClr val="bg1"/>
                </a:solidFill>
              </a:rPr>
              <a:t>Здравоохранение будущего: </a:t>
            </a:r>
            <a:r>
              <a:rPr lang="ru-RU" sz="900" dirty="0" smtClean="0">
                <a:solidFill>
                  <a:schemeClr val="bg1"/>
                </a:solidFill>
              </a:rPr>
              <a:t> Управление</a:t>
            </a:r>
            <a:r>
              <a:rPr lang="ru-RU" sz="900" dirty="0">
                <a:solidFill>
                  <a:schemeClr val="bg1"/>
                </a:solidFill>
              </a:rPr>
              <a:t>, экономика, право»». </a:t>
            </a:r>
          </a:p>
          <a:p>
            <a:r>
              <a:rPr lang="ru-RU" sz="900" dirty="0" smtClean="0">
                <a:solidFill>
                  <a:schemeClr val="bg1"/>
                </a:solidFill>
              </a:rPr>
              <a:t>04.12.2020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2B80AA72-92A4-4404-843D-D56179828460}"/>
              </a:ext>
            </a:extLst>
          </p:cNvPr>
          <p:cNvSpPr txBox="1">
            <a:spLocks/>
          </p:cNvSpPr>
          <p:nvPr/>
        </p:nvSpPr>
        <p:spPr bwMode="auto">
          <a:xfrm>
            <a:off x="4644008" y="4365104"/>
            <a:ext cx="4608512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200" b="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ru-RU" sz="1600" dirty="0" smtClean="0">
                <a:latin typeface="+mn-lt"/>
              </a:rPr>
              <a:t>Орлова Алёна Юрьевна</a:t>
            </a:r>
          </a:p>
          <a:p>
            <a:endParaRPr lang="ru-RU" sz="1600" dirty="0" smtClean="0">
              <a:latin typeface="+mn-lt"/>
            </a:endParaRPr>
          </a:p>
          <a:p>
            <a:r>
              <a:rPr lang="ru-RU" sz="1600" dirty="0" smtClean="0"/>
              <a:t>Директор</a:t>
            </a:r>
            <a:r>
              <a:rPr lang="ru-RU" sz="1600" dirty="0"/>
              <a:t> Красноярского </a:t>
            </a:r>
            <a:r>
              <a:rPr lang="ru-RU" sz="1600" dirty="0" smtClean="0"/>
              <a:t>филиала</a:t>
            </a:r>
          </a:p>
          <a:p>
            <a:r>
              <a:rPr lang="ru-RU" sz="1600" dirty="0" smtClean="0"/>
              <a:t>АО </a:t>
            </a:r>
            <a:r>
              <a:rPr lang="ru-RU" sz="1600" dirty="0"/>
              <a:t>«Страховая компания «СОГАЗ-Мед</a:t>
            </a:r>
            <a:r>
              <a:rPr lang="ru-RU" sz="1600" dirty="0" smtClean="0"/>
              <a:t>», Полномочный представитель ВСС по медицинскому страхованию в </a:t>
            </a:r>
          </a:p>
          <a:p>
            <a:r>
              <a:rPr lang="ru-RU" sz="1600" dirty="0" smtClean="0"/>
              <a:t>Красноярском крае.</a:t>
            </a:r>
            <a:endParaRPr lang="ru-RU" sz="16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197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32943" t="15228" r="33996" b="6763"/>
          <a:stretch/>
        </p:blipFill>
        <p:spPr>
          <a:xfrm>
            <a:off x="4456601" y="263769"/>
            <a:ext cx="4776679" cy="6314548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7746" y="954440"/>
            <a:ext cx="473630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Цель: 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перативное информирование всех сторон об имеющихся, возникающих проблемах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едложения о принятии управленческих решений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59122" y="123367"/>
            <a:ext cx="8094919" cy="65343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ts val="2100"/>
              </a:lnSpc>
              <a:tabLst>
                <a:tab pos="3147725" algn="l"/>
              </a:tabLst>
            </a:pPr>
            <a:r>
              <a:rPr lang="ru-RU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Участие в Штабах, ВКС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42786" y="2115391"/>
            <a:ext cx="441425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держка результатов тестов на COVID-19 более 5-10 дней (зарегистрированы случаи более 14 дней)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формирование пациентов о результатах анализов на </a:t>
            </a:r>
            <a:r>
              <a:rPr lang="en-US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COVID</a:t>
            </a: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-19.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тсутствие контроля врачей за состоянием здоровья пациентов с (+) результатом анализа на </a:t>
            </a:r>
            <a:r>
              <a:rPr lang="en-US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COVID</a:t>
            </a: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-19.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ызов врача на дом к пациенту с симптомами </a:t>
            </a:r>
            <a:r>
              <a:rPr lang="ru-RU" sz="125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ронавируса</a:t>
            </a:r>
            <a:endParaRPr lang="ru-RU" sz="125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е направление на КТ, оплата ЗЛ необходимого исслед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45075" y="1846992"/>
            <a:ext cx="175784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блемы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0608" y="4163129"/>
            <a:ext cx="4572000" cy="105413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401" fontAlgn="b">
              <a:defRPr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ичина – отсутствие должных объемов при возможности их выполнения</a:t>
            </a:r>
          </a:p>
          <a:p>
            <a:pPr defTabSz="914401" fontAlgn="b">
              <a:defRPr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ешение</a:t>
            </a:r>
          </a:p>
          <a:p>
            <a:pPr defTabSz="914401" fontAlgn="b">
              <a:defRPr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ыделение </a:t>
            </a:r>
            <a:r>
              <a:rPr lang="ru-RU" sz="125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бОльших</a:t>
            </a: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объемов через КРТП, в том числе для Частных МО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4400" y="5239994"/>
            <a:ext cx="4456430" cy="105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 июня 2020 года изменен функционал сотрудников с переориентацией на дистанционную работу, в том числе в формате Горячей линии (для возможности отработки обращений граждан в связи с их увеличением в более, чем в два раза)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122" y="6331076"/>
            <a:ext cx="2269701" cy="49448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629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53822" y="2429087"/>
            <a:ext cx="8344370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еревод работы Штаба ОМС с 09.07.2020 в ежедневный режим работы</a:t>
            </a:r>
          </a:p>
          <a:p>
            <a:endParaRPr lang="ru-RU" sz="125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r>
              <a:rPr lang="ru-RU" sz="125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перативная группа в </a:t>
            </a:r>
            <a:r>
              <a:rPr lang="ru-RU" sz="1250" b="1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WhatsApp</a:t>
            </a:r>
            <a:endParaRPr lang="ru-RU" sz="125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меститель министра Красноярского края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пециалист Норильского отделения Министерства здравоохранения Красноярского края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меститель Главы г. Норильска по социальным вопросам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уководитель управления ОМС ТФОМС 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се главные врачи МО Норильска, Таймыра (КГБУЗ, Частная МО)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траховые медицинские организации – представители застрахованных граждан на данной территории края (Красноярский филиал АО «Страховая компания «СОГАЗ-Мед», Красноярский филиал ООО СК «Капитал-полис Мед»)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95285" y="1506287"/>
            <a:ext cx="8508022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Цель: </a:t>
            </a:r>
          </a:p>
          <a:p>
            <a:pPr marL="158265" indent="-158265">
              <a:buFont typeface="Wingdings" panose="05000000000000000000" pitchFamily="2" charset="2"/>
              <a:buChar char="ü"/>
            </a:pPr>
            <a:r>
              <a:rPr lang="ru-RU" sz="125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иск, разработка нетривиальных эффективных управленческих решений на территории Норильского промышленного района для решения конкретных проблем граждан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73174" y="356207"/>
            <a:ext cx="87522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Штаб по координации работы и </a:t>
            </a:r>
            <a:r>
              <a:rPr lang="ru-RU" b="1" cap="all" dirty="0" err="1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орг</a:t>
            </a:r>
            <a:r>
              <a:rPr lang="ru-RU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-метод. сопровождению участников ОМС в условиях COVID-19 </a:t>
            </a: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174" y="5661248"/>
            <a:ext cx="2440770" cy="5317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530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33069" t="10833" r="33069" b="4914"/>
          <a:stretch/>
        </p:blipFill>
        <p:spPr>
          <a:xfrm>
            <a:off x="6211468" y="2638002"/>
            <a:ext cx="2791693" cy="4220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43852" y="548680"/>
            <a:ext cx="862119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руглосуточная работа Горячих линий ТФОМС, СМО, МО, в том числе определить дежурный телефон и график работы страховых представителей в г. Норильске</a:t>
            </a:r>
          </a:p>
          <a:p>
            <a:pPr indent="542925" fontAlgn="b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ыделено 3 номера корпоративных сотовых телефонов</a:t>
            </a:r>
          </a:p>
          <a:p>
            <a:pPr indent="542925" fontAlgn="b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пределен график дежурств, утвержден приказом. Начало работы с 11.07.2020 </a:t>
            </a:r>
          </a:p>
          <a:p>
            <a:pPr indent="542925" fontAlgn="b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зработаны скрипты для СП, в </a:t>
            </a:r>
            <a:r>
              <a:rPr lang="ru-RU" sz="14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тч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ГО организована работа СП Федеральный Контакт Центр</a:t>
            </a:r>
          </a:p>
          <a:p>
            <a:pPr marL="9525" fontAlgn="b"/>
            <a:endParaRPr lang="ru-RU" sz="140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9525" fontAlgn="b"/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зработка, размещение плаката о работе Горячих линий на территории Норильского района </a:t>
            </a:r>
          </a:p>
          <a:p>
            <a:pPr marL="542925" fontAlgn="b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за 4 дня: разработан, согласован (ТФОМС, МЗКК, ГО), напечатано 100 шт. и размещено 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/>
          <a:srcRect l="2751" t="23376" r="61358" b="37823"/>
          <a:stretch/>
        </p:blipFill>
        <p:spPr>
          <a:xfrm>
            <a:off x="271290" y="2638002"/>
            <a:ext cx="5682820" cy="3743749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271290" y="0"/>
            <a:ext cx="8621189" cy="54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75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5pPr>
            <a:lvl6pPr marL="495288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6pPr>
            <a:lvl7pPr marL="990576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7pPr>
            <a:lvl8pPr marL="1485863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8pPr>
            <a:lvl9pPr marL="198115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tabLst>
                <a:tab pos="3409950" algn="l"/>
              </a:tabLst>
            </a:pP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орильск. Решение проблем в период COVID-19</a:t>
            </a:r>
          </a:p>
        </p:txBody>
      </p:sp>
    </p:spTree>
    <p:extLst>
      <p:ext uri="{BB962C8B-B14F-4D97-AF65-F5344CB8AC3E}">
        <p14:creationId xmlns:p14="http://schemas.microsoft.com/office/powerpoint/2010/main" val="178484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31887" t="17101" r="31888" b="6601"/>
          <a:stretch/>
        </p:blipFill>
        <p:spPr>
          <a:xfrm>
            <a:off x="4771407" y="1548677"/>
            <a:ext cx="4121073" cy="5289458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1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1290" y="456174"/>
            <a:ext cx="862119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fontAlgn="b"/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зработка, выдача памяток для пациентов: тестирование на COVID-19, показания к КТ-диагностике</a:t>
            </a:r>
          </a:p>
          <a:p>
            <a:pPr marL="539750" fontAlgn="b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 4 дня: разработан, согласован (ТФОМС, МЗКК, ГО), напечатано  более 2000 шт. и передано во все МО Норильской группы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12595" t="31801" r="50394" b="24100"/>
          <a:stretch/>
        </p:blipFill>
        <p:spPr>
          <a:xfrm>
            <a:off x="271291" y="1347466"/>
            <a:ext cx="3835427" cy="278476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50787" t="33901" r="12988" b="23400"/>
          <a:stretch/>
        </p:blipFill>
        <p:spPr>
          <a:xfrm>
            <a:off x="262818" y="4077073"/>
            <a:ext cx="3843901" cy="276106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341174" y="1376811"/>
            <a:ext cx="43109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зработка памятки для врачей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271290" y="0"/>
            <a:ext cx="8621189" cy="54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75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5pPr>
            <a:lvl6pPr marL="495288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6pPr>
            <a:lvl7pPr marL="990576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7pPr>
            <a:lvl8pPr marL="1485863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8pPr>
            <a:lvl9pPr marL="198115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tabLst>
                <a:tab pos="3409950" algn="l"/>
              </a:tabLst>
            </a:pP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орильск. Решение проблем в период COVID-19</a:t>
            </a:r>
          </a:p>
        </p:txBody>
      </p:sp>
    </p:spTree>
    <p:extLst>
      <p:ext uri="{BB962C8B-B14F-4D97-AF65-F5344CB8AC3E}">
        <p14:creationId xmlns:p14="http://schemas.microsoft.com/office/powerpoint/2010/main" val="1998098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sp>
        <p:nvSpPr>
          <p:cNvPr id="9" name="Номер слайда 2"/>
          <p:cNvSpPr txBox="1">
            <a:spLocks/>
          </p:cNvSpPr>
          <p:nvPr/>
        </p:nvSpPr>
        <p:spPr bwMode="auto">
          <a:xfrm>
            <a:off x="8423444" y="6154616"/>
            <a:ext cx="720726" cy="439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4406" tIns="42203" rIns="84406" bIns="42203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1200" b="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 marL="609585" algn="l" rtl="0" fontAlgn="base">
              <a:spcBef>
                <a:spcPct val="0"/>
              </a:spcBef>
              <a:spcAft>
                <a:spcPct val="0"/>
              </a:spcAft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2pPr>
            <a:lvl3pPr marL="1219170" algn="l" rtl="0" fontAlgn="base">
              <a:spcBef>
                <a:spcPct val="0"/>
              </a:spcBef>
              <a:spcAft>
                <a:spcPct val="0"/>
              </a:spcAft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3pPr>
            <a:lvl4pPr marL="1828754" algn="l" rtl="0" fontAlgn="base">
              <a:spcBef>
                <a:spcPct val="0"/>
              </a:spcBef>
              <a:spcAft>
                <a:spcPct val="0"/>
              </a:spcAft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4pPr>
            <a:lvl5pPr marL="2438339" algn="l" rtl="0" fontAlgn="base">
              <a:spcBef>
                <a:spcPct val="0"/>
              </a:spcBef>
              <a:spcAft>
                <a:spcPct val="0"/>
              </a:spcAft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133" kern="1200">
                <a:solidFill>
                  <a:srgbClr val="002D87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982DB5A6-6DC1-40B9-81CB-ECB48CF539AF}" type="slidenum">
              <a:rPr lang="ru-RU" sz="1108">
                <a:solidFill>
                  <a:schemeClr val="bg1"/>
                </a:solidFill>
              </a:rPr>
              <a:pPr>
                <a:defRPr/>
              </a:pPr>
              <a:t>14</a:t>
            </a:fld>
            <a:endParaRPr lang="ru-RU" sz="1108" dirty="0">
              <a:solidFill>
                <a:schemeClr val="bg1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56872" y="193242"/>
            <a:ext cx="8687658" cy="274407"/>
          </a:xfrm>
        </p:spPr>
        <p:txBody>
          <a:bodyPr anchor="ctr" anchorCtr="0">
            <a:noAutofit/>
          </a:bodyPr>
          <a:lstStyle/>
          <a:p>
            <a:pPr>
              <a:tabLst>
                <a:tab pos="3147725" algn="l"/>
              </a:tabLst>
            </a:pP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орильск</a:t>
            </a: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. Решение </a:t>
            </a: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проблем</a:t>
            </a:r>
            <a:endParaRPr lang="ru-RU" sz="1800" b="1" cap="all" dirty="0">
              <a:solidFill>
                <a:srgbClr val="0A2896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7685" y="2301420"/>
            <a:ext cx="858602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дивидуальное информирование граждан по результатам тестирования на COVID-19 начато с 20.07.2020 </a:t>
            </a:r>
          </a:p>
          <a:p>
            <a:pPr marL="328254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8 дней – </a:t>
            </a:r>
          </a:p>
          <a:p>
            <a:pPr marL="328254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тработка, анализ списков с результатами</a:t>
            </a:r>
          </a:p>
          <a:p>
            <a:pPr marL="328254"/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зработка, согласование скриптов </a:t>
            </a:r>
            <a:r>
              <a:rPr lang="ru-RU" sz="14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sms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/ телефонного </a:t>
            </a: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бщения</a:t>
            </a:r>
            <a:endParaRPr lang="ru-RU" sz="1108" kern="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97777" y="507669"/>
            <a:ext cx="8586030" cy="1860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tabLst>
                <a:tab pos="2330020" algn="l"/>
              </a:tabLst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дивидуальное информирование населения Страховыми представителями, в том числе:</a:t>
            </a:r>
          </a:p>
          <a:p>
            <a:pPr marL="316531" indent="-316531" algn="just">
              <a:buFont typeface="Symbol" panose="05050102010706020507" pitchFamily="18" charset="2"/>
              <a:buChar char="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 мерах профилактики COVID-19, карантинных мероприятиях с особым акцентом на лиц старших возрастных групп (65+); </a:t>
            </a:r>
          </a:p>
          <a:p>
            <a:pPr marL="316531" indent="-316531" algn="just">
              <a:buFont typeface="Symbol" panose="05050102010706020507" pitchFamily="18" charset="2"/>
              <a:buChar char="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 необходимости вызова врача на дом в случае выявления признаков простудных заболеваний (с акцентом на застрахованных лиц старше 65 лет)- используется во всех случаях контактов с застрахованными (</a:t>
            </a:r>
            <a:r>
              <a:rPr lang="ru-RU" sz="14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бзвон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застрахованных, работа с волонтерами, входящие звонки и т.д.);</a:t>
            </a:r>
          </a:p>
          <a:p>
            <a:pPr marL="316531" indent="-316531" algn="just">
              <a:buFont typeface="Symbol" panose="05050102010706020507" pitchFamily="18" charset="2"/>
              <a:buChar char="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 временном приостановлении профилактических мероприятий.</a:t>
            </a:r>
          </a:p>
          <a:p>
            <a:pPr algn="just"/>
            <a:r>
              <a:rPr lang="ru-RU" sz="1477" b="1" dirty="0"/>
              <a:t>На </a:t>
            </a:r>
            <a:r>
              <a:rPr lang="ru-RU" sz="1477" b="1" dirty="0"/>
              <a:t>18.09.2020 проинформировано 21 651 </a:t>
            </a:r>
            <a:r>
              <a:rPr lang="ru-RU" sz="1477" b="1" dirty="0" err="1"/>
              <a:t>норильчанин</a:t>
            </a:r>
            <a:endParaRPr lang="ru-RU" sz="1477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75784" y="3495469"/>
            <a:ext cx="8868216" cy="2060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Если тест +:</a:t>
            </a:r>
            <a:r>
              <a:rPr lang="ru-RU" sz="1477" b="1" dirty="0"/>
              <a:t> </a:t>
            </a:r>
            <a:r>
              <a:rPr lang="ru-RU" sz="1108" kern="0" dirty="0"/>
              <a:t>«</a:t>
            </a:r>
            <a:r>
              <a:rPr lang="ru-RU" sz="1200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 результатам тестирования на COVID-19 Вам необходимо наблюдение участкового терапевта на дому. При ухудшении состояния вызывайте  скорую помощь. По вопросам Вы можете обратиться в территориальную поликлинику, либо позвонить на Горячую линию СОГАЗ-Мед  8-800-100-07-02»</a:t>
            </a:r>
          </a:p>
          <a:p>
            <a:pPr marL="328254">
              <a:lnSpc>
                <a:spcPct val="107000"/>
              </a:lnSpc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 18.09.2020 проинформировано 231 норильчанина – телефонный звонок</a:t>
            </a:r>
          </a:p>
          <a:p>
            <a:pPr marL="328254">
              <a:lnSpc>
                <a:spcPct val="107000"/>
              </a:lnSpc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должено сопровождение - 11 </a:t>
            </a:r>
            <a:r>
              <a:rPr lang="ru-RU" sz="1400" b="1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орильчанинам</a:t>
            </a:r>
            <a:endParaRPr lang="ru-RU" sz="14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>
              <a:lnSpc>
                <a:spcPct val="107000"/>
              </a:lnSpc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Если тест -: </a:t>
            </a:r>
            <a:r>
              <a:rPr lang="ru-RU" sz="1200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«По результатам тестирования на COVID-19 наблюдение участкового терапевта не требуется. По вопросам Вы можете обратиться в территориальную поликлинику, либо позвонить на Горячую линию СОГАЗ-Мед  8-800-100-07-02»</a:t>
            </a:r>
          </a:p>
          <a:p>
            <a:pPr marL="328254">
              <a:lnSpc>
                <a:spcPct val="107000"/>
              </a:lnSpc>
            </a:pP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 18.09.2020 проинформировано 1 944 </a:t>
            </a:r>
            <a:r>
              <a:rPr lang="ru-RU" sz="1400" b="1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орильчанина</a:t>
            </a: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– </a:t>
            </a:r>
            <a:r>
              <a:rPr lang="ru-RU" sz="14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sms</a:t>
            </a:r>
            <a:endParaRPr lang="ru-RU" sz="140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784" y="6232915"/>
            <a:ext cx="2440770" cy="5317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01443" y="5508031"/>
            <a:ext cx="8842557" cy="75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рганизация и проведение консилиума с участием зав. </a:t>
            </a: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тделением Первого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осковского</a:t>
            </a:r>
            <a:r>
              <a:rPr lang="ru-RU" sz="1477" dirty="0"/>
              <a:t>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государственного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 </a:t>
            </a: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едицинского 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университета имени И.М. Сеченова </a:t>
            </a: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(Арсентьев Н.С.) </a:t>
            </a:r>
          </a:p>
          <a:p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 08-10.08.2020</a:t>
            </a:r>
          </a:p>
        </p:txBody>
      </p:sp>
    </p:spTree>
    <p:extLst>
      <p:ext uri="{BB962C8B-B14F-4D97-AF65-F5344CB8AC3E}">
        <p14:creationId xmlns:p14="http://schemas.microsoft.com/office/powerpoint/2010/main" val="31590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7031350" y="6237313"/>
            <a:ext cx="720726" cy="476251"/>
          </a:xfrm>
        </p:spPr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1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17990" y="526174"/>
            <a:ext cx="824214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ведение КТ в МЦ «Диалог +» по направлениям системы ОМС</a:t>
            </a:r>
            <a:r>
              <a:rPr lang="ru-RU" sz="16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.</a:t>
            </a:r>
            <a:endParaRPr lang="en-US" sz="1600" dirty="0">
              <a:solidFill>
                <a:srgbClr val="000078"/>
              </a:solidFill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271290" y="0"/>
            <a:ext cx="8621189" cy="54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75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5pPr>
            <a:lvl6pPr marL="495288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6pPr>
            <a:lvl7pPr marL="990576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7pPr>
            <a:lvl8pPr marL="1485863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8pPr>
            <a:lvl9pPr marL="198115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tabLst>
                <a:tab pos="3409950" algn="l"/>
              </a:tabLst>
            </a:pP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орильск. Решение проблем в период COVID-19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17989" y="880116"/>
            <a:ext cx="8621190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РТП от 03.07.2020 принято решение о внеплановом включении в систему ОМС МЦ «Диалог+», проводящей КТ-легких в г. Норильске.</a:t>
            </a:r>
          </a:p>
          <a:p>
            <a:pPr marL="228600" indent="-228600">
              <a:buAutoNum type="arabicPeriod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11.07.2020 проведен Штаб ОМС по работе МЦ «Диалог+»</a:t>
            </a:r>
          </a:p>
          <a:p>
            <a:pPr marL="228600" indent="-228600">
              <a:buAutoNum type="arabicPeriod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 14.07.2020 организована работа врача-эксперта Красноярского филиала АО «Страховая компания «СОГАЗ-Мед» по сформированному платному потоку пациентов в клинике</a:t>
            </a:r>
          </a:p>
          <a:p>
            <a:pPr marL="5270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еред диагностикой - осмотр пациента, </a:t>
            </a:r>
          </a:p>
          <a:p>
            <a:pPr marL="5270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личие показаний - КТ-диагностика на бесплатной для пациента основе</a:t>
            </a:r>
          </a:p>
          <a:p>
            <a:pPr marL="5270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следующее сопровождение на необходимое лечение + .Всем застрахованным отданы памятки с номером телефона страхового представителя.</a:t>
            </a:r>
          </a:p>
          <a:p>
            <a:pPr marL="5270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чная экспертиза </a:t>
            </a:r>
          </a:p>
          <a:p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4. Сформирован список ответственных лиц МО по взаимодействию с СП</a:t>
            </a:r>
          </a:p>
          <a:p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5. С 20.07.2020 формирование потока пациентов из поликлиник Норильска</a:t>
            </a:r>
          </a:p>
          <a:p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6. Ежедневный мониторинг с оперативным принятием управленческих решений</a:t>
            </a:r>
          </a:p>
          <a:p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7. Оценка работы МО с 20.07.2020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4004047"/>
            <a:ext cx="2626256" cy="256595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183" y="4004405"/>
            <a:ext cx="3161314" cy="2568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71291" y="692696"/>
            <a:ext cx="82421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ведение КТ в МЦ «Диалог +» </a:t>
            </a:r>
          </a:p>
          <a:p>
            <a:pPr marL="355600" lvl="0">
              <a:buNone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бота врача-эксперта Красноярского филиала АО «Страховая компания «СОГАЗ-Мед» по сформированному платному потоку пациентов в клинике с 14.07.2020 в течение 2-х недель</a:t>
            </a:r>
          </a:p>
          <a:p>
            <a:pPr marL="355600" lvl="0">
              <a:buNone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правление из МО Норильска – с 20.07.2020</a:t>
            </a:r>
            <a:endParaRPr lang="en-US" sz="140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35127" y="2318215"/>
            <a:ext cx="250301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4.07.2020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ыявленно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арушение в МЦ «Диалог +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при описании КТ с установленной пневмонией </a:t>
            </a: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а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6.07.2020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ыявленное нарушение устранено: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писании КТ с установленной пневмонией с учетом Методических рекомендаций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3176236"/>
              </p:ext>
            </p:extLst>
          </p:nvPr>
        </p:nvGraphicFramePr>
        <p:xfrm>
          <a:off x="248072" y="2276872"/>
          <a:ext cx="3897785" cy="23849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6655"/>
                <a:gridCol w="1861130"/>
              </a:tblGrid>
              <a:tr h="432047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Arial" charset="0"/>
                          <a:ea typeface="+mn-ea"/>
                          <a:cs typeface="+mn-cs"/>
                        </a:rPr>
                        <a:t>Пациенты, пришедшие в МЦ Диалог +</a:t>
                      </a:r>
                      <a:endParaRPr lang="ru-RU" sz="1600" b="1" kern="1200" dirty="0">
                        <a:solidFill>
                          <a:schemeClr val="bg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100" b="1" kern="1200" dirty="0">
                        <a:solidFill>
                          <a:schemeClr val="bg1"/>
                        </a:solidFill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16049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Всего принято врачом-экспертом</a:t>
                      </a:r>
                      <a:endParaRPr lang="ru-RU" sz="16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66</a:t>
                      </a:r>
                      <a:endParaRPr lang="ru-RU" sz="16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</a:tr>
              <a:tr h="681871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С клиническими проявлениями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69 (42,6%)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</a:tr>
              <a:tr h="544868"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Без клиники</a:t>
                      </a:r>
                      <a:endParaRPr lang="ru-RU" sz="16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  <a:tc>
                  <a:txBody>
                    <a:bodyPr/>
                    <a:lstStyle/>
                    <a:p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97 (57,4%)</a:t>
                      </a:r>
                      <a:endParaRPr lang="ru-RU" sz="1600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anchor="ctr"/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6656781" y="2334976"/>
            <a:ext cx="250301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С 18.07 -  проведени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очной экспертиз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по случаям обращения в клинику Диалог+ с заключением на КТ-диагностике о наличии Пневмонии и по случаям с клиническими проявлениями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.</a:t>
            </a:r>
          </a:p>
          <a:p>
            <a:pPr>
              <a:spcAft>
                <a:spcPts val="0"/>
              </a:spcAft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73 очные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экспертизы (всех этапов медицинской помощи) 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235127" y="2242957"/>
            <a:ext cx="2236926" cy="75259"/>
          </a:xfrm>
          <a:prstGeom prst="rect">
            <a:avLst/>
          </a:prstGeom>
          <a:solidFill>
            <a:srgbClr val="2D57F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5708" tIns="50445" rIns="55708" bIns="2851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557064"/>
            <a:endParaRPr lang="ru-RU" sz="975"/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738144" y="2242956"/>
            <a:ext cx="2236926" cy="58498"/>
          </a:xfrm>
          <a:prstGeom prst="rect">
            <a:avLst/>
          </a:prstGeom>
          <a:solidFill>
            <a:srgbClr val="2D57F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5708" tIns="50445" rIns="55708" bIns="28512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557064"/>
            <a:endParaRPr lang="ru-RU" sz="975"/>
          </a:p>
        </p:txBody>
      </p:sp>
      <p:sp>
        <p:nvSpPr>
          <p:cNvPr id="12" name="Заголовок 1"/>
          <p:cNvSpPr txBox="1">
            <a:spLocks/>
          </p:cNvSpPr>
          <p:nvPr/>
        </p:nvSpPr>
        <p:spPr bwMode="auto">
          <a:xfrm>
            <a:off x="271290" y="0"/>
            <a:ext cx="8621189" cy="54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75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5pPr>
            <a:lvl6pPr marL="495288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6pPr>
            <a:lvl7pPr marL="990576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7pPr>
            <a:lvl8pPr marL="1485863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8pPr>
            <a:lvl9pPr marL="198115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tabLst>
                <a:tab pos="3409950" algn="l"/>
              </a:tabLst>
            </a:pPr>
            <a:r>
              <a:rPr lang="ru-RU" sz="18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орильск. Решение проблем в период COVID-19</a:t>
            </a:r>
          </a:p>
        </p:txBody>
      </p:sp>
    </p:spTree>
    <p:extLst>
      <p:ext uri="{BB962C8B-B14F-4D97-AF65-F5344CB8AC3E}">
        <p14:creationId xmlns:p14="http://schemas.microsoft.com/office/powerpoint/2010/main" val="1999024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676" y="3429000"/>
            <a:ext cx="3912023" cy="3278712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909220" y="1124744"/>
            <a:ext cx="61009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5275" indent="-285750" fontAlgn="b">
              <a:buFont typeface="Wingdings" pitchFamily="2" charset="2"/>
              <a:buChar char="ü"/>
            </a:pPr>
            <a:r>
              <a:rPr lang="ru-RU" sz="2000" b="1" dirty="0">
                <a:solidFill>
                  <a:srgbClr val="FF0000"/>
                </a:solidFill>
              </a:rPr>
              <a:t>Р</a:t>
            </a:r>
            <a:r>
              <a:rPr lang="ru-RU" sz="2000" b="1" dirty="0" smtClean="0">
                <a:solidFill>
                  <a:srgbClr val="FF0000"/>
                </a:solidFill>
              </a:rPr>
              <a:t>езультат совместной деятельности</a:t>
            </a:r>
          </a:p>
          <a:p>
            <a:pPr marL="295275" indent="-285750" fontAlgn="b">
              <a:buFont typeface="Wingdings" pitchFamily="2" charset="2"/>
              <a:buChar char="ü"/>
            </a:pPr>
            <a:r>
              <a:rPr lang="ru-RU" sz="2000" b="1" kern="0" dirty="0" smtClean="0">
                <a:solidFill>
                  <a:srgbClr val="FF0000"/>
                </a:solidFill>
              </a:rPr>
              <a:t>Актуальность вне времени</a:t>
            </a:r>
            <a:endParaRPr lang="ru-RU" sz="2000" b="1" kern="0" dirty="0">
              <a:solidFill>
                <a:srgbClr val="FF0000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271290" y="476672"/>
            <a:ext cx="8621189" cy="548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275"/>
              </a:lnSpc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5pPr>
            <a:lvl6pPr marL="495288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6pPr>
            <a:lvl7pPr marL="990576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7pPr>
            <a:lvl8pPr marL="1485863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8pPr>
            <a:lvl9pPr marL="1981150" algn="l" rtl="0" eaLnBrk="1" fontAlgn="base" hangingPunct="1">
              <a:spcBef>
                <a:spcPct val="0"/>
              </a:spcBef>
              <a:spcAft>
                <a:spcPct val="0"/>
              </a:spcAft>
              <a:defRPr sz="3467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tabLst>
                <a:tab pos="3409950" algn="l"/>
              </a:tabLst>
            </a:pPr>
            <a:r>
              <a:rPr lang="ru-RU" sz="2200" b="1" cap="all" dirty="0">
                <a:solidFill>
                  <a:srgbClr val="FF0000"/>
                </a:solidFill>
                <a:latin typeface="VTB Group Cond" charset="0"/>
                <a:ea typeface="VTB Group Cond" charset="0"/>
                <a:cs typeface="VTB Group Cond" charset="0"/>
              </a:rPr>
              <a:t>Обеспечение </a:t>
            </a:r>
            <a:r>
              <a:rPr lang="ru-RU" sz="2200" b="1" cap="all" dirty="0">
                <a:solidFill>
                  <a:srgbClr val="FF0000"/>
                </a:solidFill>
                <a:latin typeface="VTB Group Cond" charset="0"/>
                <a:ea typeface="VTB Group Cond" charset="0"/>
                <a:cs typeface="VTB Group Cond" charset="0"/>
              </a:rPr>
              <a:t>доступности и качества медицинской помощи </a:t>
            </a: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316416" y="6381328"/>
            <a:ext cx="597024" cy="365125"/>
          </a:xfrm>
        </p:spPr>
        <p:txBody>
          <a:bodyPr vert="horz" lIns="91440" tIns="45720" rIns="91440" bIns="45720" rtlCol="0" anchor="ctr"/>
          <a:lstStyle/>
          <a:p>
            <a:r>
              <a:rPr lang="ru-RU" altLang="ru-RU" sz="15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17</a:t>
            </a:r>
            <a:endParaRPr lang="ru-RU" altLang="ru-RU" sz="15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54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1200" dirty="0">
                <a:solidFill>
                  <a:schemeClr val="bg1"/>
                </a:solidFill>
              </a:rPr>
              <a:t>8 800 100 07 02</a:t>
            </a:r>
          </a:p>
          <a:p>
            <a:r>
              <a:rPr lang="en-US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s</a:t>
            </a:r>
            <a:r>
              <a:rPr lang="ru-RU" sz="1200" dirty="0" err="1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ogaz</a:t>
            </a:r>
            <a:r>
              <a:rPr lang="ru-RU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-</a:t>
            </a:r>
            <a:r>
              <a:rPr lang="en-US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med</a:t>
            </a:r>
            <a:r>
              <a:rPr lang="ru-RU" sz="1200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.ru</a:t>
            </a:r>
            <a:endParaRPr lang="ru-RU" sz="1200" dirty="0">
              <a:solidFill>
                <a:schemeClr val="bg1"/>
              </a:solidFill>
            </a:endParaRPr>
          </a:p>
          <a:p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85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1"/>
          <p:cNvPicPr>
            <a:picLocks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31720"/>
            <a:ext cx="4499992" cy="3388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"/>
          <p:cNvPicPr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99992" y="3356992"/>
            <a:ext cx="4644008" cy="3501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"/>
          <p:cNvPicPr>
            <a:picLocks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3356992"/>
            <a:ext cx="4499992" cy="3501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"/>
          <p:cNvPicPr>
            <a:picLocks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99992" y="0"/>
            <a:ext cx="4644008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51210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75937" y="1052736"/>
            <a:ext cx="8642432" cy="5490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ru-RU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филактические осмотры </a:t>
            </a:r>
          </a:p>
          <a:p>
            <a:pPr marL="355600" indent="273050" defTabSz="450850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изация</a:t>
            </a: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(в том числе охват, объем исследований, </a:t>
            </a:r>
            <a:r>
              <a:rPr lang="ru-RU" b="1" i="1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нкоскрининг</a:t>
            </a: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)</a:t>
            </a:r>
          </a:p>
          <a:p>
            <a:pPr marL="355600" indent="273050" defTabSz="450850">
              <a:buFont typeface="Wingdings" panose="05000000000000000000" pitchFamily="2" charset="2"/>
              <a:buChar char="ü"/>
            </a:pPr>
            <a:r>
              <a:rPr lang="ru-RU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филактические ежегодные осмотры</a:t>
            </a:r>
          </a:p>
          <a:p>
            <a:pPr marL="355600" indent="273050" defTabSz="450850">
              <a:buFont typeface="Wingdings" panose="05000000000000000000" pitchFamily="2" charset="2"/>
              <a:buChar char="ü"/>
            </a:pP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ное наблюдение </a:t>
            </a:r>
          </a:p>
          <a:p>
            <a:pPr>
              <a:lnSpc>
                <a:spcPct val="150000"/>
              </a:lnSpc>
            </a:pPr>
            <a:r>
              <a:rPr lang="ru-RU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локачественные новообразования</a:t>
            </a:r>
          </a:p>
          <a:p>
            <a:pPr marL="355600" indent="273050">
              <a:buFont typeface="Wingdings" panose="05000000000000000000" pitchFamily="2" charset="2"/>
              <a:buChar char="ü"/>
            </a:pP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нтроль </a:t>
            </a: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облюдения сроков </a:t>
            </a: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бследования и направления на лечение пациентов </a:t>
            </a: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 момента выявления/подозрения на ЗНО </a:t>
            </a: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о постановки </a:t>
            </a:r>
            <a:r>
              <a:rPr lang="ru-RU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агноза</a:t>
            </a:r>
          </a:p>
          <a:p>
            <a:pPr marL="355600" indent="273050">
              <a:buFont typeface="Wingdings" panose="05000000000000000000" pitchFamily="2" charset="2"/>
              <a:buChar char="ü"/>
            </a:pPr>
            <a:r>
              <a:rPr lang="ru-RU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тадия </a:t>
            </a: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НО и выбор метода лечения</a:t>
            </a:r>
          </a:p>
          <a:p>
            <a:pPr marL="355600" indent="273050">
              <a:buFont typeface="Wingdings" panose="05000000000000000000" pitchFamily="2" charset="2"/>
              <a:buChar char="ü"/>
            </a:pP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нтроль степени достижения запланированного результата </a:t>
            </a:r>
            <a:r>
              <a:rPr lang="ru-RU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(100% при </a:t>
            </a: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ведении </a:t>
            </a: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химиотерапии)</a:t>
            </a:r>
          </a:p>
          <a:p>
            <a:pPr marL="355600" indent="273050">
              <a:buFont typeface="Wingdings" panose="05000000000000000000" pitchFamily="2" charset="2"/>
              <a:buChar char="ü"/>
            </a:pPr>
            <a:r>
              <a:rPr lang="ru-RU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ное наблюдение </a:t>
            </a:r>
          </a:p>
          <a:p>
            <a:pPr>
              <a:lnSpc>
                <a:spcPct val="150000"/>
              </a:lnSpc>
            </a:pPr>
            <a:r>
              <a:rPr lang="ru-RU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Болезни системы кровообращения </a:t>
            </a:r>
            <a:endParaRPr lang="ru-RU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355600" indent="273050" algn="just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испансерное </a:t>
            </a: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блюдение</a:t>
            </a:r>
            <a:endParaRPr lang="ru-RU" b="1" i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355600" indent="273050" algn="just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аршрутизация при острых состояниях</a:t>
            </a:r>
          </a:p>
          <a:p>
            <a:pPr marL="355600" indent="273050" algn="just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облюдение порядков </a:t>
            </a:r>
            <a:r>
              <a:rPr lang="ru-RU" b="1" i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казания медицинской помощи на всех этапах </a:t>
            </a:r>
            <a:endParaRPr lang="ru-RU" b="1" i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133494" y="214434"/>
            <a:ext cx="6921028" cy="6912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cap="all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Цель – снижение смертности населения красноярского края от управляемых причин</a:t>
            </a:r>
            <a:endParaRPr lang="ru-RU" sz="2000" b="1" cap="all" dirty="0">
              <a:solidFill>
                <a:srgbClr val="C0000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726744" y="6404784"/>
            <a:ext cx="2696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4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938274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43840" y="164524"/>
            <a:ext cx="7964557" cy="1200329"/>
          </a:xfrm>
        </p:spPr>
        <p:txBody>
          <a:bodyPr/>
          <a:lstStyle/>
          <a:p>
            <a:r>
              <a:rPr lang="ru-RU" sz="2000" b="1" dirty="0" smtClean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страховые медицинские организации –  участники общественного договора в проведении всероссийской  диспансеризации в Красноярском крае</a:t>
            </a:r>
            <a:endParaRPr lang="ru-RU" sz="2000" b="1" dirty="0">
              <a:solidFill>
                <a:srgbClr val="0A2896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04897" y="1554385"/>
            <a:ext cx="496014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расноярский филиал </a:t>
            </a:r>
            <a:r>
              <a:rPr lang="ru-RU" sz="20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«СОГАЗ-Мед»</a:t>
            </a:r>
            <a:endParaRPr lang="ru-RU" sz="20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r>
              <a:rPr lang="ru-RU" sz="20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АО </a:t>
            </a:r>
            <a:r>
              <a:rPr lang="ru-RU" sz="20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СО </a:t>
            </a:r>
            <a:r>
              <a:rPr lang="ru-RU" sz="20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«</a:t>
            </a:r>
            <a:r>
              <a:rPr lang="ru-RU" sz="20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дежда»</a:t>
            </a:r>
          </a:p>
          <a:p>
            <a:r>
              <a:rPr lang="ru-RU" sz="20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ОО МСК «Медика-Восток»</a:t>
            </a:r>
          </a:p>
          <a:p>
            <a:r>
              <a:rPr lang="ru-RU" sz="20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расноярский филиал ООО СК "Капитал-полис Мед"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1573" y="1173385"/>
            <a:ext cx="2197487" cy="2433717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36955" y="3753054"/>
            <a:ext cx="8263890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>
              <a:lnSpc>
                <a:spcPct val="95000"/>
              </a:lnSpc>
              <a:spcAft>
                <a:spcPts val="0"/>
              </a:spcAft>
            </a:pPr>
            <a:r>
              <a:rPr lang="ru-RU" b="1" dirty="0" smtClean="0">
                <a:solidFill>
                  <a:srgbClr val="FF0000"/>
                </a:solidFill>
                <a:latin typeface="VTB Group Cond" charset="0"/>
                <a:ea typeface="VTB Group Cond" charset="0"/>
                <a:cs typeface="VTB Group Cond" charset="0"/>
              </a:rPr>
              <a:t>Страховые медицинские организации обязуются</a:t>
            </a:r>
            <a:r>
              <a:rPr lang="ru-RU" b="1" dirty="0">
                <a:solidFill>
                  <a:srgbClr val="FF0000"/>
                </a:solidFill>
                <a:latin typeface="VTB Group Cond" charset="0"/>
                <a:ea typeface="VTB Group Cond" charset="0"/>
                <a:cs typeface="VTB Group Cond" charset="0"/>
              </a:rPr>
              <a:t>:</a:t>
            </a:r>
          </a:p>
          <a:p>
            <a:pPr indent="449580" algn="just">
              <a:lnSpc>
                <a:spcPct val="95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существлять публичное информирование граждан о целях, задачах                  и порядке проведения медицинских осмотров;</a:t>
            </a:r>
          </a:p>
          <a:p>
            <a:pPr indent="449580" algn="just">
              <a:lnSpc>
                <a:spcPct val="95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беспечить индивидуальное информирование застрахованных                   по обязательному медицинскому страхованию граждан о прохождении медицинских </a:t>
            </a:r>
            <a:r>
              <a:rPr lang="ru-RU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смотров;</a:t>
            </a:r>
          </a:p>
          <a:p>
            <a:pPr indent="449580" algn="just">
              <a:lnSpc>
                <a:spcPct val="95000"/>
              </a:lnSpc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пособствовать </a:t>
            </a:r>
            <a:r>
              <a:rPr lang="ru-RU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недрению в медицинских организациях технологий, ориентированных на максимальное удовлетворение потребностей пациентов, включая создание наиболее благоприятных условий для прохождения медицинских осмотров.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06288" y="3352944"/>
            <a:ext cx="49354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П.2.3. Общественного договора </a:t>
            </a:r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86180" y="6392797"/>
            <a:ext cx="381000" cy="365125"/>
          </a:xfrm>
        </p:spPr>
        <p:txBody>
          <a:bodyPr vert="horz" lIns="91440" tIns="45720" rIns="91440" bIns="45720" rtlCol="0" anchor="ctr"/>
          <a:lstStyle/>
          <a:p>
            <a:r>
              <a:rPr lang="ru-RU" altLang="ru-RU" sz="1400" b="1" dirty="0" smtClean="0">
                <a:solidFill>
                  <a:srgbClr val="0A2896"/>
                </a:solidFill>
              </a:rPr>
              <a:t>4</a:t>
            </a:r>
            <a:endParaRPr lang="ru-RU" altLang="ru-RU" sz="1400" b="1" dirty="0">
              <a:solidFill>
                <a:srgbClr val="0A28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515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Овал 22"/>
          <p:cNvSpPr/>
          <p:nvPr/>
        </p:nvSpPr>
        <p:spPr>
          <a:xfrm>
            <a:off x="-1" y="423407"/>
            <a:ext cx="3158282" cy="1710193"/>
          </a:xfrm>
          <a:prstGeom prst="ellipse">
            <a:avLst/>
          </a:prstGeom>
          <a:solidFill>
            <a:srgbClr val="FFCCFF">
              <a:alpha val="82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0" y="121721"/>
            <a:ext cx="9144000" cy="603372"/>
          </a:xfrm>
          <a:prstGeom prst="rect">
            <a:avLst/>
          </a:prstGeom>
          <a:noFill/>
          <a:ln>
            <a:noFill/>
            <a:headEnd/>
            <a:tailEnd/>
          </a:ln>
          <a:effectLst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lvl1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itchFamily="18" charset="0"/>
              <a:buChar char="*"/>
              <a:defRPr sz="4600" b="1" kern="1200">
                <a:solidFill>
                  <a:schemeClr val="lt1"/>
                </a:solidFill>
                <a:effectLst>
                  <a:reflection blurRad="6350" stA="55000" endA="300" endPos="45500" dir="5400000" sy="-100000" algn="bl" rotWithShape="0"/>
                </a:effectLst>
                <a:latin typeface="+mn-lt"/>
                <a:ea typeface="+mn-ea"/>
                <a:cs typeface="+mn-cs"/>
              </a:defRPr>
            </a:lvl1pPr>
            <a:lvl2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itchFamily="18" charset="0"/>
              <a:buChar char="*"/>
              <a:defRPr sz="46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itchFamily="18" charset="0"/>
              <a:buChar char="*"/>
              <a:defRPr sz="46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itchFamily="18" charset="0"/>
              <a:buChar char="*"/>
              <a:defRPr sz="46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19088" indent="-319088" algn="r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3260C"/>
              </a:buClr>
              <a:buSzPct val="128000"/>
              <a:buFont typeface="Georgia" pitchFamily="18" charset="0"/>
              <a:buChar char="*"/>
              <a:defRPr sz="46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eaLnBrk="1" hangingPunct="1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eaLnBrk="1" hangingPunct="1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eaLnBrk="1" hangingPunct="1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eaLnBrk="1" hangingPunct="1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fontAlgn="auto" hangingPunct="1">
              <a:spcAft>
                <a:spcPts val="0"/>
              </a:spcAft>
              <a:buFont typeface="Georgia" pitchFamily="18" charset="0"/>
              <a:buNone/>
              <a:defRPr/>
            </a:pPr>
            <a:r>
              <a:rPr lang="ru-RU" sz="2000" cap="all" dirty="0">
                <a:solidFill>
                  <a:srgbClr val="0A2896"/>
                </a:solidFill>
                <a:effectLst/>
                <a:latin typeface="VTB Group Cond" charset="0"/>
                <a:ea typeface="VTB Group Cond" charset="0"/>
                <a:cs typeface="VTB Group Cond" charset="0"/>
              </a:rPr>
              <a:t>Введение института страховых представителей – развитие страховых принцип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94640" y="2210380"/>
            <a:ext cx="8554720" cy="994034"/>
          </a:xfrm>
          <a:prstGeom prst="rect">
            <a:avLst/>
          </a:prstGeom>
          <a:solidFill>
            <a:srgbClr val="FFFFCC">
              <a:alpha val="51000"/>
            </a:srgb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Информационное сопровождение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застрахованных лиц на всех этапах оказания им медицинской помощи, в том числе индивидуальное сопровождение граждан при получении медицинской помощи. Формирование приверженности населения к лечению и ведению здорового образа жизни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94640" y="3400262"/>
            <a:ext cx="8554720" cy="1485144"/>
          </a:xfrm>
          <a:prstGeom prst="rect">
            <a:avLst/>
          </a:prstGeom>
          <a:solidFill>
            <a:srgbClr val="FFFFCC">
              <a:alpha val="50000"/>
            </a:srgb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Участие в организации диспансеризации, диспансерном наблюдении</a:t>
            </a:r>
            <a:r>
              <a:rPr lang="ru-RU" sz="13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в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том числе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убличное и индивидуальное информир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ониторинг прохождения </a:t>
            </a: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роф. мероприятий</a:t>
            </a:r>
            <a:endParaRPr lang="ru-RU" sz="140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Анализ результатов проф</a:t>
            </a: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. мероприятий</a:t>
            </a:r>
            <a:endParaRPr lang="ru-RU" sz="1400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Анализ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данных опроса гражда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Участие в реализации управленческих  решений</a:t>
            </a:r>
            <a:endParaRPr lang="ru-RU" sz="13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4640" y="5244535"/>
            <a:ext cx="8554719" cy="1148262"/>
          </a:xfrm>
          <a:prstGeom prst="rect">
            <a:avLst/>
          </a:prstGeom>
          <a:solidFill>
            <a:srgbClr val="FFFFCC">
              <a:alpha val="51000"/>
            </a:srgb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Расширение полномочий по экспертному контролю 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 вопросам качества оказания медицинской помощи, межведомственному взаимодействию с участием СМО, </a:t>
            </a:r>
            <a:r>
              <a:rPr lang="ru-RU" sz="14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направленное на предотвращение ухудшения состояния здоровья</a:t>
            </a:r>
            <a:r>
              <a:rPr lang="ru-RU" sz="14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, с целью формирования приверженности назначенному лечению и ведению здорового образа жизни</a:t>
            </a:r>
          </a:p>
        </p:txBody>
      </p:sp>
      <p:sp>
        <p:nvSpPr>
          <p:cNvPr id="2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86180" y="6392797"/>
            <a:ext cx="381000" cy="365125"/>
          </a:xfrm>
        </p:spPr>
        <p:txBody>
          <a:bodyPr vert="horz" lIns="91440" tIns="45720" rIns="91440" bIns="45720" rtlCol="0" anchor="ctr"/>
          <a:lstStyle/>
          <a:p>
            <a:r>
              <a:rPr lang="ru-RU" altLang="ru-RU" sz="1400" b="1" dirty="0" smtClean="0">
                <a:solidFill>
                  <a:srgbClr val="0A2896"/>
                </a:solidFill>
              </a:rPr>
              <a:t>5</a:t>
            </a:r>
            <a:endParaRPr lang="ru-RU" altLang="ru-RU" sz="1400" b="1" dirty="0">
              <a:solidFill>
                <a:srgbClr val="0A2896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244" y="805300"/>
            <a:ext cx="991611" cy="99161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9128" y="3900544"/>
            <a:ext cx="958244" cy="106471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2609" y="1199236"/>
            <a:ext cx="1415151" cy="118988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8316" y="786757"/>
            <a:ext cx="995927" cy="99592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4601" y="4155604"/>
            <a:ext cx="1608407" cy="120630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8805" y="622848"/>
            <a:ext cx="1470555" cy="143387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940" y="991576"/>
            <a:ext cx="1463537" cy="987325"/>
          </a:xfrm>
          <a:prstGeom prst="rect">
            <a:avLst/>
          </a:prstGeom>
        </p:spPr>
      </p:pic>
      <p:pic>
        <p:nvPicPr>
          <p:cNvPr id="1026" name="Picture 2" descr="ÐÐ°ÑÑÐ¸Ð½ÐºÐ¸ Ð¿Ð¾ Ð·Ð°Ð¿ÑÐ¾ÑÑ ÑÐµÐ»Ð¾Ð²ÐµÑÐºÐ¸ Ð¿Ð¾Ð¼Ð¾ÑÑ Ð´Ð»Ñ Ð¿ÑÐµÐ·ÐµÐ½ÑÐ°ÑÐ¸Ð¸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549" y="3097905"/>
            <a:ext cx="1033388" cy="1033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13" y="567379"/>
            <a:ext cx="1495474" cy="1120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087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9512" y="116632"/>
            <a:ext cx="8784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cap="all" dirty="0" smtClean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Порядок </a:t>
            </a:r>
            <a:r>
              <a:rPr lang="ru-RU" sz="2000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оказания медицинской помощи населению по профилю «Онкология» (приказ МЗ РФ от 15.11.2012 №915н)</a:t>
            </a:r>
          </a:p>
        </p:txBody>
      </p:sp>
      <p:sp>
        <p:nvSpPr>
          <p:cNvPr id="4" name="Rectangle 66"/>
          <p:cNvSpPr>
            <a:spLocks noChangeArrowheads="1"/>
          </p:cNvSpPr>
          <p:nvPr/>
        </p:nvSpPr>
        <p:spPr bwMode="auto">
          <a:xfrm>
            <a:off x="-324543" y="62141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15350" t="16400" r="14957" b="5900"/>
          <a:stretch/>
        </p:blipFill>
        <p:spPr>
          <a:xfrm>
            <a:off x="0" y="792892"/>
            <a:ext cx="9617334" cy="603121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99592" y="1257902"/>
            <a:ext cx="864096" cy="121539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7424" y="3082494"/>
            <a:ext cx="1018192" cy="173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3094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379413" y="90633"/>
            <a:ext cx="7315200" cy="74789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800" b="1" dirty="0" smtClean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Реальная помощь пациентам страховыми представителями  (выборочные примеры)</a:t>
            </a:r>
            <a:endParaRPr lang="ru-RU" sz="1800" b="1" dirty="0">
              <a:solidFill>
                <a:srgbClr val="0A2896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206204"/>
              </p:ext>
            </p:extLst>
          </p:nvPr>
        </p:nvGraphicFramePr>
        <p:xfrm>
          <a:off x="0" y="692696"/>
          <a:ext cx="9103049" cy="6165303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254463"/>
                <a:gridCol w="3375362"/>
                <a:gridCol w="4473224"/>
              </a:tblGrid>
              <a:tr h="58740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kern="1200" dirty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Пациент</a:t>
                      </a: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Жалоба</a:t>
                      </a:r>
                      <a:endParaRPr lang="ru-RU" sz="1300" b="1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kern="1200" dirty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Результат</a:t>
                      </a:r>
                    </a:p>
                  </a:txBody>
                  <a:tcPr marL="7926" marR="7926" marT="7928" marB="0" anchor="ctr">
                    <a:noFill/>
                  </a:tcPr>
                </a:tc>
              </a:tr>
              <a:tr h="1852946">
                <a:tc>
                  <a:txBody>
                    <a:bodyPr/>
                    <a:lstStyle/>
                    <a:p>
                      <a:pPr marL="92075" indent="0" algn="l" fontAlgn="b"/>
                      <a:r>
                        <a:rPr lang="ru-RU" sz="14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лёна, 20 лет</a:t>
                      </a:r>
                      <a:endParaRPr lang="ru-RU" sz="14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</a:t>
                      </a:r>
                      <a:r>
                        <a:rPr lang="ru-RU" sz="14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оводят обследование при наличии жалоб. Потеряли карту в МО, Обратилась в частную МО, дали направление в ККОД на бумажном носителе, сказали, что запишет в ККОД – КГБУЗ, где в этом отказывают.</a:t>
                      </a:r>
                      <a:endParaRPr lang="ru-RU" sz="14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момент обращения в  20.02.2019</a:t>
                      </a:r>
                      <a:r>
                        <a:rPr lang="ru-RU" sz="14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ситуация прежняя, заместитель главного врача не видит проблем и не понимает свою ответственность: карты в МО нет, при этом имеется заключение врача из частной клиники и врач-онколог в МО (!). На 14.03.2019 – пациентка госпитализирована в ККОД.</a:t>
                      </a:r>
                    </a:p>
                    <a:p>
                      <a:pPr algn="l" fontAlgn="b"/>
                      <a:r>
                        <a:rPr lang="ru-RU" sz="1400" b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сегодня – ПХТ пройдена. Диспансерное наблюдение. Ремиссия.</a:t>
                      </a:r>
                      <a:endParaRPr lang="ru-RU" sz="14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</a:tr>
              <a:tr h="870333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Татьяна Андреевна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Просит содействия в прохождении УЗИ в день сдачи анализов. 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Оказано содействие.</a:t>
                      </a:r>
                    </a:p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При контрольном звонке - УЗИ. поведено в день сдачи всех анализов. </a:t>
                      </a:r>
                    </a:p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Госпитализирована в ККОД 07.06.2020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</a:tr>
              <a:tr h="915225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Владимир Александрович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29.05.20</a:t>
                      </a:r>
                      <a:r>
                        <a:rPr lang="en-US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20</a:t>
                      </a:r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 необходимо быть в ККОД. Беспокоится, что не успеет пройти обследование  УЗИ. Просит содействия.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21.05.2020 состоялась консультация  врача - онколога. </a:t>
                      </a:r>
                    </a:p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ЗЛ записан на обследование УЗИ на 22.05.2020.</a:t>
                      </a:r>
                    </a:p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При контрольном звонке 23.05.2020- проведено.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</a:tr>
              <a:tr h="778088"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err="1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Зульфия</a:t>
                      </a:r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 </a:t>
                      </a:r>
                      <a:r>
                        <a:rPr lang="ru-RU" sz="1300" b="0" kern="1200" dirty="0" err="1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Исламовна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Без записи</a:t>
                      </a:r>
                      <a:r>
                        <a:rPr lang="ru-RU" sz="1300" b="0" kern="1200" baseline="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 не смогла попасть на прием к гинекологу. Есть проблемы. Просит содействия.</a:t>
                      </a:r>
                      <a:endParaRPr lang="ru-RU" sz="1300" b="0" kern="1200" dirty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Разъяснены все виды записей на прием к врачам. Оказана помощь, записана к гинекологу. На</a:t>
                      </a:r>
                      <a:r>
                        <a:rPr lang="ru-RU" sz="1300" b="0" kern="1200" baseline="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 20.05.2020</a:t>
                      </a:r>
                    </a:p>
                  </a:txBody>
                  <a:tcPr marL="7926" marR="7926" marT="7928" marB="0" anchor="ctr">
                    <a:noFill/>
                  </a:tcPr>
                </a:tc>
              </a:tr>
              <a:tr h="116130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Оксана </a:t>
                      </a:r>
                      <a:r>
                        <a:rPr lang="ru-RU" sz="1300" b="0" kern="1200" dirty="0" err="1" smtClean="0">
                          <a:solidFill>
                            <a:srgbClr val="002060"/>
                          </a:solidFill>
                          <a:latin typeface="VTB Group Cond Light" charset="0"/>
                          <a:ea typeface="VTB Group Cond Light" charset="0"/>
                          <a:cs typeface="VTB Group Cond Light" charset="0"/>
                        </a:rPr>
                        <a:t>Мелетеевна</a:t>
                      </a:r>
                      <a:endParaRPr lang="ru-RU" sz="1300" b="0" kern="1200" dirty="0" smtClean="0">
                        <a:solidFill>
                          <a:srgbClr val="00206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  <a:p>
                      <a:pPr algn="l" fontAlgn="b"/>
                      <a:endParaRPr lang="ru-RU" sz="1300" b="0" kern="1200" dirty="0">
                        <a:solidFill>
                          <a:srgbClr val="C00000"/>
                        </a:solidFill>
                        <a:latin typeface="VTB Group Cond Light" charset="0"/>
                        <a:ea typeface="VTB Group Cond Light" charset="0"/>
                        <a:cs typeface="VTB Group Cond Light" charset="0"/>
                      </a:endParaRPr>
                    </a:p>
                  </a:txBody>
                  <a:tcPr marL="7926" marR="7926" marT="7928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 врачей, невозможно пройти обследование перед госпитализацией в ККОД (отдаленный ФАП)</a:t>
                      </a:r>
                      <a:endParaRPr lang="ru-RU" sz="140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дена работа с МО, организован выезд лаборанта на ФАП для забора анализов. Проведен контроль в феврале – пациентка подтвердила, что все анализы сданы, осмотр в ККОД 20.02.2020.</a:t>
                      </a:r>
                      <a:r>
                        <a:rPr lang="ru-RU" sz="1400" b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31.10.2020 – заканчивает куры ПХТ </a:t>
                      </a:r>
                      <a:endParaRPr lang="ru-RU" sz="1400" b="1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926" marR="7926" marT="7926" marB="0"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530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5010226"/>
              </p:ext>
            </p:extLst>
          </p:nvPr>
        </p:nvGraphicFramePr>
        <p:xfrm>
          <a:off x="30124" y="1935014"/>
          <a:ext cx="9048902" cy="4890127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263855"/>
                <a:gridCol w="7785047"/>
              </a:tblGrid>
              <a:tr h="33924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rgbClr val="C0000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КОНТРОЛЬ</a:t>
                      </a:r>
                      <a:endParaRPr lang="ru-RU" sz="1600" b="1" kern="1200" dirty="0">
                        <a:solidFill>
                          <a:srgbClr val="C0000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</a:tr>
              <a:tr h="1021597">
                <a:tc>
                  <a:txBody>
                    <a:bodyPr/>
                    <a:lstStyle/>
                    <a:p>
                      <a:r>
                        <a:rPr lang="ru-RU" sz="1550" b="1" kern="1200" dirty="0" smtClean="0">
                          <a:solidFill>
                            <a:srgbClr val="C0000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ОБЪЕМОВ</a:t>
                      </a:r>
                      <a:endParaRPr lang="ru-RU" sz="1550" b="1" kern="1200" dirty="0">
                        <a:solidFill>
                          <a:srgbClr val="C0000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Выполнение обязательных диагностических исследований, </a:t>
                      </a:r>
                      <a:r>
                        <a:rPr lang="ru-RU" sz="1600" b="0" kern="120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направленных на выявление хронических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 неинфекционных заболеваний, рисков их развития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Соответствие в МО охвата </a:t>
                      </a:r>
                      <a:r>
                        <a:rPr lang="ru-RU" sz="1600" b="1" kern="1200" baseline="0" dirty="0" err="1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проф.осмотрами</a:t>
                      </a: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 целевому показателю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722477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C0000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СРОКОВ</a:t>
                      </a:r>
                      <a:endParaRPr lang="ru-RU" sz="1600" b="1" kern="1200" dirty="0">
                        <a:solidFill>
                          <a:srgbClr val="C0000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Оценка доступности</a:t>
                      </a: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: 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диспансеризации, диспансерного наблюдения, в </a:t>
                      </a:r>
                      <a:r>
                        <a:rPr lang="ru-RU" sz="1600" b="0" kern="1200" baseline="0" dirty="0" err="1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т.ч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. своевременность взятия на него, направление на </a:t>
                      </a:r>
                      <a:r>
                        <a:rPr lang="ru-RU" sz="1600" b="0" kern="1200" baseline="0" dirty="0" err="1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послед.этапы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 лечения.</a:t>
                      </a:r>
                      <a:endParaRPr lang="ru-RU" sz="1600" b="0" kern="1200" dirty="0">
                        <a:solidFill>
                          <a:srgbClr val="00206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2127601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C0000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КАЧЕСТВА</a:t>
                      </a:r>
                      <a:endParaRPr lang="ru-RU" sz="1600" b="1" kern="1200" dirty="0">
                        <a:solidFill>
                          <a:srgbClr val="C0000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Достижение целевых значений 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показателей состояния здоровья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Сокращение числа обращений по поводу обострений хронических заболеваний 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Увеличение выявляемости ЗНО на ранних стадиях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Увеличение постановки на ДН нуждающихся пациентов с ХНИЗ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Уменьшение числа госпитализаций</a:t>
                      </a:r>
                    </a:p>
                    <a:p>
                      <a:pPr marL="0" indent="0" algn="just">
                        <a:buFont typeface="Wingdings" panose="05000000000000000000" pitchFamily="2" charset="2"/>
                        <a:buNone/>
                      </a:pPr>
                      <a:r>
                        <a:rPr lang="ru-RU" sz="1600" b="1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Снижение показателей смертности</a:t>
                      </a:r>
                      <a:r>
                        <a:rPr lang="ru-RU" sz="1600" b="0" kern="1200" baseline="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, в т. ч. внебольничной смертности, лиц, находящихся</a:t>
                      </a:r>
                      <a:r>
                        <a:rPr lang="ru-RU" sz="160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 под диспансерным наблюдением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</a:tr>
              <a:tr h="679207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C0000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УСЛОВИЙ</a:t>
                      </a:r>
                      <a:endParaRPr lang="ru-RU" sz="1600" b="1" kern="1200" dirty="0">
                        <a:solidFill>
                          <a:srgbClr val="C0000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002060"/>
                          </a:solidFill>
                          <a:latin typeface="VTB Group Cond" charset="0"/>
                          <a:ea typeface="VTB Group Cond" charset="0"/>
                          <a:cs typeface="VTB Group Cond" charset="0"/>
                        </a:rPr>
                        <a:t>Оценка режима работы МО, официального сайта, наличия и работы диагностической службы МО </a:t>
                      </a:r>
                      <a:endParaRPr lang="ru-RU" sz="1600" b="1" kern="1200" dirty="0">
                        <a:solidFill>
                          <a:srgbClr val="002060"/>
                        </a:solidFill>
                        <a:latin typeface="VTB Group Cond" charset="0"/>
                        <a:ea typeface="VTB Group Cond" charset="0"/>
                        <a:cs typeface="VTB Group Cond" charset="0"/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83127" y="109224"/>
            <a:ext cx="8942896" cy="1172149"/>
          </a:xfrm>
          <a:prstGeom prst="rect">
            <a:avLst/>
          </a:prstGeom>
          <a:solidFill>
            <a:srgbClr val="FFFFCC">
              <a:alpha val="30000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500" b="1" dirty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Расширение полномочий по экспертному контролю </a:t>
            </a: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по вопросам качества оказания медицинской помощи, межведомственному взаимодействию с участием СМО, </a:t>
            </a:r>
            <a:r>
              <a:rPr lang="ru-RU" sz="1500" b="1" dirty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направленное на предотвращение ухудшения состояния здоровья</a:t>
            </a: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, с целью формирования приверженности назначенному лечению и ведению здорового образа жизни</a:t>
            </a:r>
          </a:p>
        </p:txBody>
      </p:sp>
      <p:sp>
        <p:nvSpPr>
          <p:cNvPr id="2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32440" y="6381328"/>
            <a:ext cx="381000" cy="365125"/>
          </a:xfrm>
        </p:spPr>
        <p:txBody>
          <a:bodyPr vert="horz" lIns="91440" tIns="45720" rIns="91440" bIns="45720" rtlCol="0" anchor="ctr"/>
          <a:lstStyle/>
          <a:p>
            <a:r>
              <a:rPr lang="ru-RU" altLang="ru-RU" sz="15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8</a:t>
            </a:r>
            <a:endParaRPr lang="ru-RU" altLang="ru-RU" sz="15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1273427"/>
            <a:ext cx="916643" cy="91664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410826" y="1281373"/>
            <a:ext cx="608016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defRPr/>
            </a:pPr>
            <a:r>
              <a:rPr lang="ru-RU" sz="1700" b="1" dirty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Организация работы с применением риск-ориентированного </a:t>
            </a:r>
            <a:r>
              <a:rPr lang="ru-RU" sz="1700" b="1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подхода Приказ </a:t>
            </a:r>
            <a:r>
              <a:rPr lang="ru-RU" sz="1700" b="1" dirty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№36 от </a:t>
            </a:r>
            <a:r>
              <a:rPr lang="ru-RU" sz="1700" b="1" dirty="0" smtClean="0">
                <a:solidFill>
                  <a:srgbClr val="C00000"/>
                </a:solidFill>
                <a:latin typeface="VTB Group Cond" charset="0"/>
                <a:ea typeface="VTB Group Cond" charset="0"/>
                <a:cs typeface="VTB Group Cond" charset="0"/>
              </a:rPr>
              <a:t>28.02.2019</a:t>
            </a:r>
            <a:endParaRPr lang="ru-RU" sz="1700" b="1" dirty="0">
              <a:solidFill>
                <a:srgbClr val="C0000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0991" y="962056"/>
            <a:ext cx="1535032" cy="1254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64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82DB5A6-6DC1-40B9-81CB-ECB48CF539AF}" type="slidenum">
              <a:rPr lang="ru-RU">
                <a:solidFill>
                  <a:schemeClr val="bg1"/>
                </a:solidFill>
              </a:rPr>
              <a:pPr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1909" y="829039"/>
            <a:ext cx="4238226" cy="5793304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67748" y="1141795"/>
            <a:ext cx="448431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беспечить непрерывность осуществления</a:t>
            </a:r>
          </a:p>
          <a:p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страховой деятельности в части оказания указанных социально значимых страховых услуг </a:t>
            </a:r>
          </a:p>
          <a:p>
            <a:endParaRPr lang="ru-RU" sz="15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  <a:p>
            <a:r>
              <a:rPr lang="ru-RU" sz="1500" b="1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Цель:</a:t>
            </a:r>
          </a:p>
          <a:p>
            <a:pPr indent="-263776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Минимизация рисков для здоровья населения</a:t>
            </a:r>
          </a:p>
          <a:p>
            <a:pPr indent="-263776">
              <a:buFont typeface="Wingdings" panose="05000000000000000000" pitchFamily="2" charset="2"/>
              <a:buChar char="ü"/>
            </a:pP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нструктивное взаимодействие с медицинскими организациями для обеспечения их стабильной работы и поддержания репутации органов государственной вла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98321" y="5005279"/>
            <a:ext cx="437072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ТФОМС Красноярского края создан оперативный Штаб по координации работы и </a:t>
            </a:r>
            <a:r>
              <a:rPr lang="ru-RU" sz="15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орг</a:t>
            </a: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-метод. сопровождению участников ОМС в условиях COVID-19 (приказ ТФОМС  от 02.04.2020 №01.2-011-04-99). 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74449" y="267151"/>
            <a:ext cx="8094919" cy="65343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hangingPunct="0">
              <a:lnSpc>
                <a:spcPts val="2100"/>
              </a:lnSpc>
              <a:tabLst>
                <a:tab pos="3147725" algn="l"/>
              </a:tabLst>
            </a:pPr>
            <a:r>
              <a:rPr lang="ru-RU" b="1" cap="all" dirty="0" smtClean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Начало пандемии - Деятельность </a:t>
            </a:r>
            <a:r>
              <a:rPr lang="ru-RU" b="1" cap="all" dirty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rPr>
              <a:t>по обязательному медицинскому страхованию не приостановлен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74449" y="4135985"/>
            <a:ext cx="437072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Еженедельное Краевое ВКС по организации работы в режиме распространения новой </a:t>
            </a:r>
            <a:r>
              <a:rPr lang="ru-RU" sz="1500" dirty="0" err="1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коронавирусной</a:t>
            </a:r>
            <a:r>
              <a:rPr lang="ru-RU" sz="1500" dirty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 инфекции COVID-19</a:t>
            </a:r>
          </a:p>
        </p:txBody>
      </p:sp>
      <p:sp>
        <p:nvSpPr>
          <p:cNvPr id="11" name="Номер слайда 1"/>
          <p:cNvSpPr txBox="1">
            <a:spLocks/>
          </p:cNvSpPr>
          <p:nvPr/>
        </p:nvSpPr>
        <p:spPr>
          <a:xfrm>
            <a:off x="8532440" y="6381328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altLang="ru-RU" sz="1500" b="1" dirty="0" smtClean="0">
                <a:solidFill>
                  <a:srgbClr val="002060"/>
                </a:solidFill>
                <a:latin typeface="VTB Group Cond" charset="0"/>
                <a:ea typeface="VTB Group Cond" charset="0"/>
                <a:cs typeface="VTB Group Cond" charset="0"/>
              </a:rPr>
              <a:t>9</a:t>
            </a:r>
            <a:endParaRPr lang="ru-RU" altLang="ru-RU" sz="1500" b="1" dirty="0">
              <a:solidFill>
                <a:srgbClr val="002060"/>
              </a:solidFill>
              <a:latin typeface="VTB Group Cond" charset="0"/>
              <a:ea typeface="VTB Group Cond" charset="0"/>
              <a:cs typeface="VTB Group Con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01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6_SOGAZ1eng">
  <a:themeElements>
    <a:clrScheme name="Другая 1">
      <a:dk1>
        <a:sysClr val="windowText" lastClr="000000"/>
      </a:dk1>
      <a:lt1>
        <a:sysClr val="window" lastClr="FFFFFF"/>
      </a:lt1>
      <a:dk2>
        <a:srgbClr val="1E0A5A"/>
      </a:dk2>
      <a:lt2>
        <a:srgbClr val="F2F2F2"/>
      </a:lt2>
      <a:accent1>
        <a:srgbClr val="000078"/>
      </a:accent1>
      <a:accent2>
        <a:srgbClr val="CC292B"/>
      </a:accent2>
      <a:accent3>
        <a:srgbClr val="00A94F"/>
      </a:accent3>
      <a:accent4>
        <a:srgbClr val="800080"/>
      </a:accent4>
      <a:accent5>
        <a:srgbClr val="2D57FC"/>
      </a:accent5>
      <a:accent6>
        <a:srgbClr val="F7D417"/>
      </a:accent6>
      <a:hlink>
        <a:srgbClr val="00B0F0"/>
      </a:hlink>
      <a:folHlink>
        <a:srgbClr val="8064A2"/>
      </a:folHlink>
    </a:clrScheme>
    <a:fontScheme name="2_СОГАЗнов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82800" rIns="91440" bIns="4680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600" b="0" i="0" u="none" strike="noStrike" cap="none" normalizeH="0" baseline="0" smtClean="0">
            <a:ln>
              <a:noFill/>
            </a:ln>
            <a:solidFill>
              <a:srgbClr val="002D87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СОГАЗнов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СОГАЗнов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СОГАЗнов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70</TotalTime>
  <Words>2068</Words>
  <Application>Microsoft Office PowerPoint</Application>
  <PresentationFormat>Экран (4:3)</PresentationFormat>
  <Paragraphs>236</Paragraphs>
  <Slides>18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0" baseType="lpstr">
      <vt:lpstr>Arial</vt:lpstr>
      <vt:lpstr>Calibri</vt:lpstr>
      <vt:lpstr>Calibri Light</vt:lpstr>
      <vt:lpstr>Georgia</vt:lpstr>
      <vt:lpstr>Symbol</vt:lpstr>
      <vt:lpstr>Times New Roman</vt:lpstr>
      <vt:lpstr>VTB Group Cond</vt:lpstr>
      <vt:lpstr>VTB Group Cond Light</vt:lpstr>
      <vt:lpstr>Wingdings</vt:lpstr>
      <vt:lpstr>Специальное оформление</vt:lpstr>
      <vt:lpstr>46_SOGAZ1eng</vt:lpstr>
      <vt:lpstr>Слайд think-cell</vt:lpstr>
      <vt:lpstr>Презентация PowerPoint</vt:lpstr>
      <vt:lpstr>Презентация PowerPoint</vt:lpstr>
      <vt:lpstr>Презентация PowerPoint</vt:lpstr>
      <vt:lpstr>страховые медицинские организации –  участники общественного договора в проведении всероссийской  диспансеризации в Красноярском кра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орильск. Решение проблем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рмационное сопровождение пациентов со злокачественными новообразованиями</dc:title>
  <dc:creator>User</dc:creator>
  <cp:lastModifiedBy>Орлова Алена Юрьевна</cp:lastModifiedBy>
  <cp:revision>133</cp:revision>
  <cp:lastPrinted>2019-10-31T13:54:20Z</cp:lastPrinted>
  <dcterms:modified xsi:type="dcterms:W3CDTF">2020-12-04T07:28:30Z</dcterms:modified>
</cp:coreProperties>
</file>